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5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6" r:id="rId4"/>
    <p:sldMasterId id="2147483648" r:id="rId5"/>
  </p:sldMasterIdLst>
  <p:notesMasterIdLst>
    <p:notesMasterId r:id="rId7"/>
  </p:notesMasterIdLst>
  <p:handoutMasterIdLst>
    <p:handoutMasterId r:id="rId8"/>
  </p:handoutMasterIdLst>
  <p:sldIdLst>
    <p:sldId id="2147469777" r:id="rId6"/>
  </p:sldIdLst>
  <p:sldSz cx="20105688" cy="11309350"/>
  <p:notesSz cx="20104100" cy="11309350"/>
  <p:embeddedFontLst>
    <p:embeddedFont>
      <p:font typeface="Poppins" panose="020B0604020202020204" charset="0"/>
      <p:regular r:id="rId9"/>
      <p:bold r:id="rId10"/>
      <p:italic r:id="rId11"/>
      <p:boldItalic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Arial Unicode MS" panose="020B0604020202020204" pitchFamily="34" charset="-128"/>
      <p:regular r:id="rId17"/>
    </p:embeddedFont>
  </p:embeddedFontLst>
  <p:defaultTextStyle>
    <a:defPPr>
      <a:defRPr kern="0"/>
    </a:defPPr>
  </p:defaultTextStyle>
  <p:extLst>
    <p:ext uri="{521415D9-36F7-43E2-AB2F-B90AF26B5E84}">
      <p14:sectionLst xmlns:p14="http://schemas.microsoft.com/office/powerpoint/2010/main">
        <p14:section name="Title Slides" id="{F2814C07-6146-413C-A5E8-04DC608C6550}">
          <p14:sldIdLst/>
        </p14:section>
        <p14:section name="Content" id="{B67DBF7C-AE3D-4BD7-8B57-E3D8D4C48568}">
          <p14:sldIdLst>
            <p14:sldId id="2147469777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3562" userDrawn="1">
          <p15:clr>
            <a:srgbClr val="A4A3A4"/>
          </p15:clr>
        </p15:guide>
        <p15:guide id="4" orient="horz" pos="1008" userDrawn="1">
          <p15:clr>
            <a:srgbClr val="A4A3A4"/>
          </p15:clr>
        </p15:guide>
        <p15:guide id="5" orient="horz" pos="336" userDrawn="1">
          <p15:clr>
            <a:srgbClr val="A4A3A4"/>
          </p15:clr>
        </p15:guide>
        <p15:guide id="6" orient="horz" pos="669" userDrawn="1">
          <p15:clr>
            <a:srgbClr val="A4A3A4"/>
          </p15:clr>
        </p15:guide>
        <p15:guide id="7" pos="1320" userDrawn="1">
          <p15:clr>
            <a:srgbClr val="A4A3A4"/>
          </p15:clr>
        </p15:guide>
        <p15:guide id="8" pos="3430" userDrawn="1">
          <p15:clr>
            <a:srgbClr val="A4A3A4"/>
          </p15:clr>
        </p15:guide>
        <p15:guide id="9" pos="5924" userDrawn="1">
          <p15:clr>
            <a:srgbClr val="A4A3A4"/>
          </p15:clr>
        </p15:guide>
        <p15:guide id="10" pos="8487" userDrawn="1">
          <p15:clr>
            <a:srgbClr val="A4A3A4"/>
          </p15:clr>
        </p15:guide>
        <p15:guide id="11" pos="1098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244C540-AA26-7136-52DB-B78A8B6DD048}" name="William Markham" initials="WM" userId="S::wilmar@cryptomathic.com::2f2ba772-e09f-446d-9b3c-f9465eb31818" providerId="AD"/>
  <p188:author id="{9C6E9BB3-14C6-7D5E-3FB0-5DBABD367168}" name="Bower, Susan (Chief Customer Office)" initials="BS(CO" userId="S::Susan.Bower@lloydsbanking.com::12e694e5-3d0e-44a4-85cf-4a9f1b2e44f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B34F"/>
    <a:srgbClr val="81C15D"/>
    <a:srgbClr val="CBD7CF"/>
    <a:srgbClr val="007C43"/>
    <a:srgbClr val="68A445"/>
    <a:srgbClr val="282828"/>
    <a:srgbClr val="E35014"/>
    <a:srgbClr val="38B3EE"/>
    <a:srgbClr val="000000"/>
    <a:srgbClr val="D84D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A49BA8-B551-D3D6-83F4-54B8BB925F1C}" v="47" dt="2025-07-04T15:46:07.774"/>
    <p1510:client id="{83E66076-92A6-9549-5FC2-3E7766BAC106}" v="42" dt="2025-07-04T15:17:57.33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843" y="54"/>
      </p:cViewPr>
      <p:guideLst>
        <p:guide orient="horz" pos="3562"/>
        <p:guide orient="horz" pos="1008"/>
        <p:guide orient="horz" pos="336"/>
        <p:guide orient="horz" pos="669"/>
        <p:guide pos="1320"/>
        <p:guide pos="3430"/>
        <p:guide pos="5924"/>
        <p:guide pos="8487"/>
        <p:guide pos="1098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font" Target="fonts/font1.fntdata"/><Relationship Id="rId10" Type="http://schemas.openxmlformats.org/officeDocument/2006/relationships/font" Target="fonts/font2.fntdata"/><Relationship Id="rId11" Type="http://schemas.openxmlformats.org/officeDocument/2006/relationships/font" Target="fonts/font3.fntdata"/><Relationship Id="rId12" Type="http://schemas.openxmlformats.org/officeDocument/2006/relationships/font" Target="fonts/font4.fntdata"/><Relationship Id="rId13" Type="http://schemas.openxmlformats.org/officeDocument/2006/relationships/font" Target="fonts/font5.fntdata"/><Relationship Id="rId14" Type="http://schemas.openxmlformats.org/officeDocument/2006/relationships/font" Target="fonts/font6.fntdata"/><Relationship Id="rId15" Type="http://schemas.openxmlformats.org/officeDocument/2006/relationships/font" Target="fonts/font7.fntdata"/><Relationship Id="rId16" Type="http://schemas.openxmlformats.org/officeDocument/2006/relationships/font" Target="fonts/font8.fntdata"/><Relationship Id="rId17" Type="http://schemas.openxmlformats.org/officeDocument/2006/relationships/font" Target="fonts/font9.fntdata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42" Type="http://schemas.microsoft.com/office/2015/10/relationships/revisionInfo" Target="revisionInfo.xml"/><Relationship Id="rId43" Type="http://schemas.microsoft.com/office/2018/10/relationships/authors" Target="authors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F460EFB5-993E-75E4-3C88-96FC6129F9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376938E-4260-F31C-050F-A4AD552200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519693-FC16-4790-A210-3C6EF0E407BB}" type="datetimeFigureOut">
              <a:rPr lang="en-GB" smtClean="0"/>
              <a:t>04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2CF1E80-61F0-4170-B97A-753D83ACDD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7E6DCD66-38B9-5185-991B-A04B1988F6B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E92433-685B-45F9-A70B-999B552D3E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700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069C6E-4650-4AFE-BA9B-09E813A9E7ED}" type="datetimeFigureOut">
              <a:rPr lang="en-GB" smtClean="0"/>
              <a:t>04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56C39B-3A1E-4FD7-A163-51C51EE53C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856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Relationship Id="rId3" Type="http://schemas.openxmlformats.org/officeDocument/2006/relationships/image" Target="../media/image2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jpeg"/><Relationship Id="rId3" Type="http://schemas.openxmlformats.org/officeDocument/2006/relationships/image" Target="../media/image2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6.emf"/><Relationship Id="rId7" Type="http://schemas.openxmlformats.org/officeDocument/2006/relationships/image" Target="../media/image2.emf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6.emf"/><Relationship Id="rId7" Type="http://schemas.openxmlformats.org/officeDocument/2006/relationships/image" Target="../media/image2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6.emf"/><Relationship Id="rId7" Type="http://schemas.openxmlformats.org/officeDocument/2006/relationships/image" Target="../media/image2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6.emf"/><Relationship Id="rId7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6.emf"/><Relationship Id="rId7" Type="http://schemas.openxmlformats.org/officeDocument/2006/relationships/image" Target="../media/image2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4">
            <a:extLst>
              <a:ext uri="{FF2B5EF4-FFF2-40B4-BE49-F238E27FC236}">
                <a16:creationId xmlns="" xmlns:a16="http://schemas.microsoft.com/office/drawing/2014/main" id="{9A00E4B8-CEB3-B483-8084-0CB45D0B39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4424" y="2491906"/>
            <a:ext cx="795019" cy="89563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6" name="object 22">
            <a:extLst>
              <a:ext uri="{FF2B5EF4-FFF2-40B4-BE49-F238E27FC236}">
                <a16:creationId xmlns="" xmlns:a16="http://schemas.microsoft.com/office/drawing/2014/main" id="{78A5858E-C769-A11B-5873-B66759919939}"/>
              </a:ext>
            </a:extLst>
          </p:cNvPr>
          <p:cNvSpPr/>
          <p:nvPr userDrawn="1"/>
        </p:nvSpPr>
        <p:spPr>
          <a:xfrm>
            <a:off x="7004602" y="5566141"/>
            <a:ext cx="45719" cy="4812934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3">
            <a:extLst>
              <a:ext uri="{FF2B5EF4-FFF2-40B4-BE49-F238E27FC236}">
                <a16:creationId xmlns="" xmlns:a16="http://schemas.microsoft.com/office/drawing/2014/main" id="{14DB5FE2-FD24-4FD0-CBC7-8AC84FAC3ADF}"/>
              </a:ext>
            </a:extLst>
          </p:cNvPr>
          <p:cNvSpPr/>
          <p:nvPr userDrawn="1"/>
        </p:nvSpPr>
        <p:spPr>
          <a:xfrm flipH="1">
            <a:off x="12948444" y="5566141"/>
            <a:ext cx="76435" cy="4812934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Picture Placeholder 34">
            <a:extLst>
              <a:ext uri="{FF2B5EF4-FFF2-40B4-BE49-F238E27FC236}">
                <a16:creationId xmlns="" xmlns:a16="http://schemas.microsoft.com/office/drawing/2014/main" id="{E36C9282-1EDA-1F80-29A0-FEE2778546E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625456" y="2491787"/>
            <a:ext cx="795019" cy="89563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9" name="Picture Placeholder 34">
            <a:extLst>
              <a:ext uri="{FF2B5EF4-FFF2-40B4-BE49-F238E27FC236}">
                <a16:creationId xmlns="" xmlns:a16="http://schemas.microsoft.com/office/drawing/2014/main" id="{167AFF17-7D7A-AAEA-E29A-982667C116D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7644" y="2491668"/>
            <a:ext cx="795019" cy="89563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1" name="Text Placeholder 8">
            <a:extLst>
              <a:ext uri="{FF2B5EF4-FFF2-40B4-BE49-F238E27FC236}">
                <a16:creationId xmlns="" xmlns:a16="http://schemas.microsoft.com/office/drawing/2014/main" id="{B49C53A0-50BD-D605-4106-75221D54DDE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71771" y="3729892"/>
            <a:ext cx="4926523" cy="1341906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9600" b="1" i="0" spc="-140" dirty="0">
                <a:gradFill flip="none" rotWithShape="1">
                  <a:gsLst>
                    <a:gs pos="20000">
                      <a:srgbClr val="9B1C79"/>
                    </a:gs>
                    <a:gs pos="70000">
                      <a:srgbClr val="329DD2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="" xmlns:a16="http://schemas.microsoft.com/office/drawing/2014/main" id="{D515D6F7-EE71-F39C-3C45-31C59B463B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15513" y="3729891"/>
            <a:ext cx="4926523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9600" b="1" i="0" spc="-140" dirty="0">
                <a:gradFill flip="none" rotWithShape="1">
                  <a:gsLst>
                    <a:gs pos="20000">
                      <a:srgbClr val="CE143D"/>
                    </a:gs>
                    <a:gs pos="70000">
                      <a:srgbClr val="CA87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="" xmlns:a16="http://schemas.microsoft.com/office/drawing/2014/main" id="{B53EC9E3-35BA-E11F-8A33-A04AB5DDBBC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4075" y="5529724"/>
            <a:ext cx="5483747" cy="36292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="" xmlns:a16="http://schemas.microsoft.com/office/drawing/2014/main" id="{EDC1A9A2-7D54-3DC1-E7CB-F0BE59E1B3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574540" y="5529723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="" xmlns:a16="http://schemas.microsoft.com/office/drawing/2014/main" id="{1C9C0C6A-5187-4AA0-6FB2-FC3857D7D0C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3621869" y="5529722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349A8F11-0144-E099-40A9-667D68F1B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30">
            <a:extLst>
              <a:ext uri="{FF2B5EF4-FFF2-40B4-BE49-F238E27FC236}">
                <a16:creationId xmlns="" xmlns:a16="http://schemas.microsoft.com/office/drawing/2014/main" id="{87349530-C6CD-7B16-253D-AF41238D66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4074" y="701675"/>
            <a:ext cx="152709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="" xmlns:a16="http://schemas.microsoft.com/office/drawing/2014/main" id="{0F5D5893-5338-F751-A97F-AAB40E8A5F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7644" y="3729891"/>
            <a:ext cx="4926523" cy="1341906"/>
          </a:xfrm>
          <a:prstGeom prst="rect">
            <a:avLst/>
          </a:prstGeom>
          <a:noFill/>
        </p:spPr>
        <p:txBody>
          <a:bodyPr lIns="0"/>
          <a:lstStyle>
            <a:lvl1pPr>
              <a:defRPr lang="en-GB" sz="96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GB"/>
              <a:t>edit</a:t>
            </a:r>
          </a:p>
        </p:txBody>
      </p:sp>
    </p:spTree>
    <p:extLst>
      <p:ext uri="{BB962C8B-B14F-4D97-AF65-F5344CB8AC3E}">
        <p14:creationId xmlns:p14="http://schemas.microsoft.com/office/powerpoint/2010/main" val="2280004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332" userDrawn="1">
          <p15:clr>
            <a:srgbClr val="FBAE40"/>
          </p15:clr>
        </p15:guide>
        <p15:guide id="3" orient="horz" pos="977" userDrawn="1">
          <p15:clr>
            <a:srgbClr val="FBAE40"/>
          </p15:clr>
        </p15:guide>
        <p15:guide id="4" orient="horz" pos="358" userDrawn="1">
          <p15:clr>
            <a:srgbClr val="FBAE40"/>
          </p15:clr>
        </p15:guide>
        <p15:guide id="5" orient="horz" pos="65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heading small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9A8F303-18D9-31FB-24A1-904A12EB9EC0}"/>
              </a:ext>
            </a:extLst>
          </p:cNvPr>
          <p:cNvSpPr>
            <a:spLocks/>
          </p:cNvSpPr>
          <p:nvPr userDrawn="1"/>
        </p:nvSpPr>
        <p:spPr>
          <a:xfrm>
            <a:off x="-2374" y="0"/>
            <a:ext cx="20117589" cy="11319799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7A6CD9FC-69F7-630E-7CBE-A1F19674DCFA}"/>
              </a:ext>
            </a:extLst>
          </p:cNvPr>
          <p:cNvSpPr/>
          <p:nvPr userDrawn="1"/>
        </p:nvSpPr>
        <p:spPr>
          <a:xfrm>
            <a:off x="15036401" y="6686441"/>
            <a:ext cx="5069287" cy="4633358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D2C6F40B-56AA-EE0D-51F0-EFDAEE205CBA}"/>
              </a:ext>
            </a:extLst>
          </p:cNvPr>
          <p:cNvSpPr/>
          <p:nvPr userDrawn="1"/>
        </p:nvSpPr>
        <p:spPr>
          <a:xfrm>
            <a:off x="9981048" y="2189329"/>
            <a:ext cx="5047898" cy="4497112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35781" y="2194561"/>
            <a:ext cx="5085565" cy="4497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6691673"/>
            <a:ext cx="5055439" cy="46281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4658852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5431537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4694250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5413223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178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100035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178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100035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904200" y="811125"/>
            <a:ext cx="16261569" cy="60619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600" b="1" spc="-75" smtClean="0">
                <a:solidFill>
                  <a:schemeClr val="tx2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598886EC-A9CD-BF73-ACFD-1B78F6568C4D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Table Placeholder 26">
            <a:extLst>
              <a:ext uri="{FF2B5EF4-FFF2-40B4-BE49-F238E27FC236}">
                <a16:creationId xmlns="" xmlns:a16="http://schemas.microsoft.com/office/drawing/2014/main" id="{6234C1B7-0EC4-363A-3E07-7CAACAA1E238}"/>
              </a:ext>
            </a:extLst>
          </p:cNvPr>
          <p:cNvSpPr>
            <a:spLocks noGrp="1"/>
          </p:cNvSpPr>
          <p:nvPr>
            <p:ph type="tbl" sz="quarter" idx="34"/>
          </p:nvPr>
        </p:nvSpPr>
        <p:spPr>
          <a:xfrm>
            <a:off x="954088" y="2327275"/>
            <a:ext cx="8275637" cy="82804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8815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6651F529-7416-1AE3-1F40-FAA44C590A08}"/>
              </a:ext>
            </a:extLst>
          </p:cNvPr>
          <p:cNvSpPr>
            <a:spLocks/>
          </p:cNvSpPr>
          <p:nvPr userDrawn="1"/>
        </p:nvSpPr>
        <p:spPr>
          <a:xfrm>
            <a:off x="9978674" y="7569"/>
            <a:ext cx="5071575" cy="5655601"/>
          </a:xfrm>
          <a:prstGeom prst="rect">
            <a:avLst/>
          </a:prstGeom>
          <a:gradFill>
            <a:gsLst>
              <a:gs pos="87000">
                <a:srgbClr val="55AE62"/>
              </a:gs>
              <a:gs pos="12000">
                <a:srgbClr val="009098"/>
              </a:gs>
              <a:gs pos="61000">
                <a:srgbClr val="239C82"/>
              </a:gs>
              <a:gs pos="100000">
                <a:srgbClr val="75B94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9A8F303-18D9-31FB-24A1-904A12EB9EC0}"/>
              </a:ext>
            </a:extLst>
          </p:cNvPr>
          <p:cNvSpPr>
            <a:spLocks/>
          </p:cNvSpPr>
          <p:nvPr userDrawn="1"/>
        </p:nvSpPr>
        <p:spPr>
          <a:xfrm>
            <a:off x="-2374" y="14148"/>
            <a:ext cx="9981047" cy="11305652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52146" y="-1618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5664200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9675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22360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85073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504046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chemeClr val="bg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FDF6A38-8916-88EC-1B8B-F18C96E8F901}"/>
              </a:ext>
            </a:extLst>
          </p:cNvPr>
          <p:cNvSpPr>
            <a:spLocks/>
          </p:cNvSpPr>
          <p:nvPr userDrawn="1"/>
        </p:nvSpPr>
        <p:spPr>
          <a:xfrm>
            <a:off x="15049188" y="5672355"/>
            <a:ext cx="5069201" cy="5667120"/>
          </a:xfrm>
          <a:prstGeom prst="rect">
            <a:avLst/>
          </a:prstGeom>
          <a:gradFill>
            <a:gsLst>
              <a:gs pos="87000">
                <a:srgbClr val="55AE62"/>
              </a:gs>
              <a:gs pos="12000">
                <a:srgbClr val="009098"/>
              </a:gs>
              <a:gs pos="61000">
                <a:srgbClr val="239C82"/>
              </a:gs>
              <a:gs pos="100000">
                <a:srgbClr val="75B94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178EEAFF-D3E8-496D-D529-6605A6E53D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D28A77F7-C0A2-4B29-80B6-7AA70923F2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047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Whit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="" xmlns:a16="http://schemas.microsoft.com/office/drawing/2014/main" id="{2E7241F7-B911-ED49-578A-A407B4C3F8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  <a:noFill/>
        </p:spPr>
        <p:txBody>
          <a:bodyPr lIns="0"/>
          <a:lstStyle>
            <a:lvl1pPr>
              <a:lnSpc>
                <a:spcPct val="90000"/>
              </a:lnSpc>
              <a:defRPr lang="en-GB" sz="8751" b="1" i="0" spc="-140" dirty="0" smtClean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="" xmlns:a16="http://schemas.microsoft.com/office/drawing/2014/main" id="{FDA3153C-1FC5-DD36-5539-93EBA05D24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6" name="Text Placeholder 13">
            <a:extLst>
              <a:ext uri="{FF2B5EF4-FFF2-40B4-BE49-F238E27FC236}">
                <a16:creationId xmlns="" xmlns:a16="http://schemas.microsoft.com/office/drawing/2014/main" id="{9A5A0314-CCF6-45A6-025B-119E2B0D8F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="" xmlns:a16="http://schemas.microsoft.com/office/drawing/2014/main" id="{F91E8C38-41B6-5663-35CA-DA4F5FF341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13" name="Holder 6">
            <a:extLst>
              <a:ext uri="{FF2B5EF4-FFF2-40B4-BE49-F238E27FC236}">
                <a16:creationId xmlns="" xmlns:a16="http://schemas.microsoft.com/office/drawing/2014/main" id="{E5C346EF-CFFE-A8CB-3C55-B22F886202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6573AF96-FC26-B85F-DB19-AA4D7F98A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461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 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="" xmlns:a16="http://schemas.microsoft.com/office/drawing/2014/main" id="{85429B04-CAD3-DC4F-8A63-5C4B8695D6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632400"/>
            <a:ext cx="13366306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66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="" xmlns:a16="http://schemas.microsoft.com/office/drawing/2014/main" id="{8A0FF90A-1D48-4A2F-F78C-9EAAA78670D9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908122" y="2378075"/>
            <a:ext cx="18289445" cy="8229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FAC6682D-8387-33AD-D97C-9EB88DBFF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21179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>
            <a:extLst>
              <a:ext uri="{FF2B5EF4-FFF2-40B4-BE49-F238E27FC236}">
                <a16:creationId xmlns="" xmlns:a16="http://schemas.microsoft.com/office/drawing/2014/main" id="{85429B04-CAD3-DC4F-8A63-5C4B8695D6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13366306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FAC6682D-8387-33AD-D97C-9EB88DBFF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128D6AC4-7CB1-6EB2-838D-19790BE173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8050" y="2454275"/>
            <a:ext cx="18670588" cy="75438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88F6084-EF2E-B618-55AE-C5F46DE74A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414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plit Tab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hite right half">
            <a:extLst>
              <a:ext uri="{FF2B5EF4-FFF2-40B4-BE49-F238E27FC236}">
                <a16:creationId xmlns="" xmlns:a16="http://schemas.microsoft.com/office/drawing/2014/main" id="{C93488C7-5D89-979A-AA32-600564DA21A0}"/>
              </a:ext>
            </a:extLst>
          </p:cNvPr>
          <p:cNvSpPr/>
          <p:nvPr userDrawn="1"/>
        </p:nvSpPr>
        <p:spPr>
          <a:xfrm>
            <a:off x="10052844" y="1"/>
            <a:ext cx="10052844" cy="11308715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3" name="Text Placeholder 8">
            <a:extLst>
              <a:ext uri="{FF2B5EF4-FFF2-40B4-BE49-F238E27FC236}">
                <a16:creationId xmlns="" xmlns:a16="http://schemas.microsoft.com/office/drawing/2014/main" id="{85429B04-CAD3-DC4F-8A63-5C4B8695D6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8839898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54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="" xmlns:a16="http://schemas.microsoft.com/office/drawing/2014/main" id="{8A0FF90A-1D48-4A2F-F78C-9EAAA78670D9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908122" y="2378075"/>
            <a:ext cx="8839898" cy="8229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Holder 6">
            <a:extLst>
              <a:ext uri="{FF2B5EF4-FFF2-40B4-BE49-F238E27FC236}">
                <a16:creationId xmlns="" xmlns:a16="http://schemas.microsoft.com/office/drawing/2014/main" id="{2924E4AC-F502-E950-914B-A1F3750F0A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6054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pli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hite right half">
            <a:extLst>
              <a:ext uri="{FF2B5EF4-FFF2-40B4-BE49-F238E27FC236}">
                <a16:creationId xmlns="" xmlns:a16="http://schemas.microsoft.com/office/drawing/2014/main" id="{C93488C7-5D89-979A-AA32-600564DA21A0}"/>
              </a:ext>
            </a:extLst>
          </p:cNvPr>
          <p:cNvSpPr/>
          <p:nvPr userDrawn="1"/>
        </p:nvSpPr>
        <p:spPr>
          <a:xfrm>
            <a:off x="10052844" y="1"/>
            <a:ext cx="10052844" cy="11308715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9" name="Holder 6">
            <a:extLst>
              <a:ext uri="{FF2B5EF4-FFF2-40B4-BE49-F238E27FC236}">
                <a16:creationId xmlns="" xmlns:a16="http://schemas.microsoft.com/office/drawing/2014/main" id="{2924E4AC-F502-E950-914B-A1F3750F0A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71590D42-2C36-EAC9-8382-14334668AD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8050" y="2454275"/>
            <a:ext cx="8839200" cy="8001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="" xmlns:a16="http://schemas.microsoft.com/office/drawing/2014/main" id="{DF84EA9B-CCC4-B1A1-139F-9DB5ED00A2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8839898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54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37655851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104440C-04FA-CDA9-3664-06D22AEB90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0105688" cy="11309350"/>
          </a:xfrm>
          <a:prstGeom prst="rect">
            <a:avLst/>
          </a:prstGeom>
          <a:solidFill>
            <a:srgbClr val="282828"/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0" b="1" i="0" spc="-140" dirty="0">
                <a:gradFill flip="none" rotWithShape="1">
                  <a:gsLst>
                    <a:gs pos="0">
                      <a:srgbClr val="01863B"/>
                    </a:gs>
                    <a:gs pos="7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847B631E-8E16-9FAD-C898-7E2EF86A8C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74FF2558-7B35-66B2-7932-D73F303131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491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White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D3AC9A2-8054-52A3-D5B8-CEE708D3B6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20105688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title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10622889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4968876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LBG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6589079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date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692586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D343A3D9-8CFF-5F2E-0F5D-EA7841586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0139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No Logo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D3AC9A2-8054-52A3-D5B8-CEE708D3B6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20105688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title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10622889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4968876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rgbClr val="FFFFFF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LBG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6589079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date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692586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D343A3D9-8CFF-5F2E-0F5D-EA7841586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9462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Split Grey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">
            <a:extLst>
              <a:ext uri="{FF2B5EF4-FFF2-40B4-BE49-F238E27FC236}">
                <a16:creationId xmlns="" xmlns:a16="http://schemas.microsoft.com/office/drawing/2014/main" id="{75F5F925-B2A4-F9DD-500C-2AB829E5B262}"/>
              </a:ext>
            </a:extLst>
          </p:cNvPr>
          <p:cNvGrpSpPr/>
          <p:nvPr userDrawn="1"/>
        </p:nvGrpSpPr>
        <p:grpSpPr>
          <a:xfrm>
            <a:off x="17438477" y="530633"/>
            <a:ext cx="2140119" cy="1033144"/>
            <a:chOff x="17308372" y="530633"/>
            <a:chExt cx="2139950" cy="1033144"/>
          </a:xfrm>
        </p:grpSpPr>
        <p:sp>
          <p:nvSpPr>
            <p:cNvPr id="10" name="object 8">
              <a:extLst>
                <a:ext uri="{FF2B5EF4-FFF2-40B4-BE49-F238E27FC236}">
                  <a16:creationId xmlns="" xmlns:a16="http://schemas.microsoft.com/office/drawing/2014/main" id="{EE0B8A85-AAC8-D820-7037-EED8EBC45627}"/>
                </a:ext>
              </a:extLst>
            </p:cNvPr>
            <p:cNvSpPr/>
            <p:nvPr/>
          </p:nvSpPr>
          <p:spPr>
            <a:xfrm>
              <a:off x="17308372" y="530633"/>
              <a:ext cx="2139950" cy="1033144"/>
            </a:xfrm>
            <a:custGeom>
              <a:avLst/>
              <a:gdLst/>
              <a:ahLst/>
              <a:cxnLst/>
              <a:rect l="l" t="t" r="r" b="b"/>
              <a:pathLst>
                <a:path w="2139950" h="1033144">
                  <a:moveTo>
                    <a:pt x="2139788" y="0"/>
                  </a:moveTo>
                  <a:lnTo>
                    <a:pt x="0" y="0"/>
                  </a:lnTo>
                  <a:lnTo>
                    <a:pt x="0" y="1032910"/>
                  </a:lnTo>
                  <a:lnTo>
                    <a:pt x="2139788" y="1032910"/>
                  </a:lnTo>
                  <a:lnTo>
                    <a:pt x="2139788" y="0"/>
                  </a:lnTo>
                  <a:close/>
                </a:path>
              </a:pathLst>
            </a:custGeom>
            <a:solidFill>
              <a:srgbClr val="007C4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9">
              <a:extLst>
                <a:ext uri="{FF2B5EF4-FFF2-40B4-BE49-F238E27FC236}">
                  <a16:creationId xmlns="" xmlns:a16="http://schemas.microsoft.com/office/drawing/2014/main" id="{9A4EDB77-6EC6-783F-20ED-6217A537ABAA}"/>
                </a:ext>
              </a:extLst>
            </p:cNvPr>
            <p:cNvSpPr/>
            <p:nvPr/>
          </p:nvSpPr>
          <p:spPr>
            <a:xfrm>
              <a:off x="17421924" y="865463"/>
              <a:ext cx="950594" cy="344805"/>
            </a:xfrm>
            <a:custGeom>
              <a:avLst/>
              <a:gdLst/>
              <a:ahLst/>
              <a:cxnLst/>
              <a:rect l="l" t="t" r="r" b="b"/>
              <a:pathLst>
                <a:path w="950594" h="344805">
                  <a:moveTo>
                    <a:pt x="29601" y="262473"/>
                  </a:moveTo>
                  <a:lnTo>
                    <a:pt x="544" y="262473"/>
                  </a:lnTo>
                  <a:lnTo>
                    <a:pt x="544" y="343099"/>
                  </a:lnTo>
                  <a:lnTo>
                    <a:pt x="28690" y="343099"/>
                  </a:lnTo>
                  <a:lnTo>
                    <a:pt x="39812" y="341752"/>
                  </a:lnTo>
                  <a:lnTo>
                    <a:pt x="48906" y="337556"/>
                  </a:lnTo>
                  <a:lnTo>
                    <a:pt x="54676" y="330712"/>
                  </a:lnTo>
                  <a:lnTo>
                    <a:pt x="14051" y="330712"/>
                  </a:lnTo>
                  <a:lnTo>
                    <a:pt x="14051" y="307969"/>
                  </a:lnTo>
                  <a:lnTo>
                    <a:pt x="55155" y="307969"/>
                  </a:lnTo>
                  <a:lnTo>
                    <a:pt x="53014" y="304587"/>
                  </a:lnTo>
                  <a:lnTo>
                    <a:pt x="45359" y="300085"/>
                  </a:lnTo>
                  <a:lnTo>
                    <a:pt x="50092" y="297603"/>
                  </a:lnTo>
                  <a:lnTo>
                    <a:pt x="51362" y="295802"/>
                  </a:lnTo>
                  <a:lnTo>
                    <a:pt x="14051" y="295802"/>
                  </a:lnTo>
                  <a:lnTo>
                    <a:pt x="14051" y="274860"/>
                  </a:lnTo>
                  <a:lnTo>
                    <a:pt x="52462" y="274860"/>
                  </a:lnTo>
                  <a:lnTo>
                    <a:pt x="52436" y="274731"/>
                  </a:lnTo>
                  <a:lnTo>
                    <a:pt x="47139" y="267964"/>
                  </a:lnTo>
                  <a:lnTo>
                    <a:pt x="39267" y="263856"/>
                  </a:lnTo>
                  <a:lnTo>
                    <a:pt x="29601" y="262473"/>
                  </a:lnTo>
                  <a:close/>
                </a:path>
                <a:path w="950594" h="344805">
                  <a:moveTo>
                    <a:pt x="55155" y="307969"/>
                  </a:moveTo>
                  <a:lnTo>
                    <a:pt x="38155" y="307969"/>
                  </a:lnTo>
                  <a:lnTo>
                    <a:pt x="43338" y="312472"/>
                  </a:lnTo>
                  <a:lnTo>
                    <a:pt x="43338" y="326440"/>
                  </a:lnTo>
                  <a:lnTo>
                    <a:pt x="37925" y="330712"/>
                  </a:lnTo>
                  <a:lnTo>
                    <a:pt x="54676" y="330712"/>
                  </a:lnTo>
                  <a:lnTo>
                    <a:pt x="55044" y="330275"/>
                  </a:lnTo>
                  <a:lnTo>
                    <a:pt x="57296" y="319676"/>
                  </a:lnTo>
                  <a:lnTo>
                    <a:pt x="57296" y="311351"/>
                  </a:lnTo>
                  <a:lnTo>
                    <a:pt x="55155" y="307969"/>
                  </a:lnTo>
                  <a:close/>
                </a:path>
                <a:path w="950594" h="344805">
                  <a:moveTo>
                    <a:pt x="52462" y="274860"/>
                  </a:moveTo>
                  <a:lnTo>
                    <a:pt x="35004" y="274860"/>
                  </a:lnTo>
                  <a:lnTo>
                    <a:pt x="40857" y="278242"/>
                  </a:lnTo>
                  <a:lnTo>
                    <a:pt x="40857" y="291530"/>
                  </a:lnTo>
                  <a:lnTo>
                    <a:pt x="35904" y="295802"/>
                  </a:lnTo>
                  <a:lnTo>
                    <a:pt x="51362" y="295802"/>
                  </a:lnTo>
                  <a:lnTo>
                    <a:pt x="54375" y="291530"/>
                  </a:lnTo>
                  <a:lnTo>
                    <a:pt x="54375" y="284096"/>
                  </a:lnTo>
                  <a:lnTo>
                    <a:pt x="52462" y="274860"/>
                  </a:lnTo>
                  <a:close/>
                </a:path>
                <a:path w="950594" h="344805">
                  <a:moveTo>
                    <a:pt x="673215" y="262494"/>
                  </a:moveTo>
                  <a:lnTo>
                    <a:pt x="646870" y="262494"/>
                  </a:lnTo>
                  <a:lnTo>
                    <a:pt x="646870" y="343120"/>
                  </a:lnTo>
                  <a:lnTo>
                    <a:pt x="660377" y="343120"/>
                  </a:lnTo>
                  <a:lnTo>
                    <a:pt x="660377" y="311372"/>
                  </a:lnTo>
                  <a:lnTo>
                    <a:pt x="686096" y="311372"/>
                  </a:lnTo>
                  <a:lnTo>
                    <a:pt x="684932" y="309341"/>
                  </a:lnTo>
                  <a:lnTo>
                    <a:pt x="691314" y="305763"/>
                  </a:lnTo>
                  <a:lnTo>
                    <a:pt x="696137" y="300645"/>
                  </a:lnTo>
                  <a:lnTo>
                    <a:pt x="696935" y="298985"/>
                  </a:lnTo>
                  <a:lnTo>
                    <a:pt x="660377" y="298985"/>
                  </a:lnTo>
                  <a:lnTo>
                    <a:pt x="660377" y="275112"/>
                  </a:lnTo>
                  <a:lnTo>
                    <a:pt x="697298" y="275112"/>
                  </a:lnTo>
                  <a:lnTo>
                    <a:pt x="692728" y="268775"/>
                  </a:lnTo>
                  <a:lnTo>
                    <a:pt x="684184" y="264082"/>
                  </a:lnTo>
                  <a:lnTo>
                    <a:pt x="673215" y="262494"/>
                  </a:lnTo>
                  <a:close/>
                </a:path>
                <a:path w="950594" h="344805">
                  <a:moveTo>
                    <a:pt x="686096" y="311372"/>
                  </a:moveTo>
                  <a:lnTo>
                    <a:pt x="671414" y="311372"/>
                  </a:lnTo>
                  <a:lnTo>
                    <a:pt x="688984" y="343120"/>
                  </a:lnTo>
                  <a:lnTo>
                    <a:pt x="704303" y="343120"/>
                  </a:lnTo>
                  <a:lnTo>
                    <a:pt x="686096" y="311372"/>
                  </a:lnTo>
                  <a:close/>
                </a:path>
                <a:path w="950594" h="344805">
                  <a:moveTo>
                    <a:pt x="697298" y="275112"/>
                  </a:moveTo>
                  <a:lnTo>
                    <a:pt x="680649" y="275112"/>
                  </a:lnTo>
                  <a:lnTo>
                    <a:pt x="686502" y="278714"/>
                  </a:lnTo>
                  <a:lnTo>
                    <a:pt x="686502" y="294922"/>
                  </a:lnTo>
                  <a:lnTo>
                    <a:pt x="681099" y="298985"/>
                  </a:lnTo>
                  <a:lnTo>
                    <a:pt x="696935" y="298985"/>
                  </a:lnTo>
                  <a:lnTo>
                    <a:pt x="699186" y="294301"/>
                  </a:lnTo>
                  <a:lnTo>
                    <a:pt x="700250" y="287048"/>
                  </a:lnTo>
                  <a:lnTo>
                    <a:pt x="698275" y="276466"/>
                  </a:lnTo>
                  <a:lnTo>
                    <a:pt x="697298" y="275112"/>
                  </a:lnTo>
                  <a:close/>
                </a:path>
                <a:path w="950594" h="344805">
                  <a:moveTo>
                    <a:pt x="169230" y="262473"/>
                  </a:moveTo>
                  <a:lnTo>
                    <a:pt x="156843" y="262473"/>
                  </a:lnTo>
                  <a:lnTo>
                    <a:pt x="156843" y="343099"/>
                  </a:lnTo>
                  <a:lnTo>
                    <a:pt x="170361" y="343099"/>
                  </a:lnTo>
                  <a:lnTo>
                    <a:pt x="170361" y="284315"/>
                  </a:lnTo>
                  <a:lnTo>
                    <a:pt x="186338" y="284315"/>
                  </a:lnTo>
                  <a:lnTo>
                    <a:pt x="169230" y="262473"/>
                  </a:lnTo>
                  <a:close/>
                </a:path>
                <a:path w="950594" h="344805">
                  <a:moveTo>
                    <a:pt x="186338" y="284315"/>
                  </a:moveTo>
                  <a:lnTo>
                    <a:pt x="170361" y="284315"/>
                  </a:lnTo>
                  <a:lnTo>
                    <a:pt x="216077" y="343099"/>
                  </a:lnTo>
                  <a:lnTo>
                    <a:pt x="226443" y="343099"/>
                  </a:lnTo>
                  <a:lnTo>
                    <a:pt x="226443" y="318555"/>
                  </a:lnTo>
                  <a:lnTo>
                    <a:pt x="213155" y="318555"/>
                  </a:lnTo>
                  <a:lnTo>
                    <a:pt x="186338" y="284315"/>
                  </a:lnTo>
                  <a:close/>
                </a:path>
                <a:path w="950594" h="344805">
                  <a:moveTo>
                    <a:pt x="226443" y="262473"/>
                  </a:moveTo>
                  <a:lnTo>
                    <a:pt x="213155" y="262473"/>
                  </a:lnTo>
                  <a:lnTo>
                    <a:pt x="213155" y="318555"/>
                  </a:lnTo>
                  <a:lnTo>
                    <a:pt x="226443" y="318555"/>
                  </a:lnTo>
                  <a:lnTo>
                    <a:pt x="226443" y="262473"/>
                  </a:lnTo>
                  <a:close/>
                </a:path>
                <a:path w="950594" h="344805">
                  <a:moveTo>
                    <a:pt x="922987" y="262494"/>
                  </a:moveTo>
                  <a:lnTo>
                    <a:pt x="897312" y="262494"/>
                  </a:lnTo>
                  <a:lnTo>
                    <a:pt x="897312" y="343120"/>
                  </a:lnTo>
                  <a:lnTo>
                    <a:pt x="910380" y="343120"/>
                  </a:lnTo>
                  <a:lnTo>
                    <a:pt x="910380" y="314294"/>
                  </a:lnTo>
                  <a:lnTo>
                    <a:pt x="922087" y="314294"/>
                  </a:lnTo>
                  <a:lnTo>
                    <a:pt x="933231" y="312492"/>
                  </a:lnTo>
                  <a:lnTo>
                    <a:pt x="942161" y="307313"/>
                  </a:lnTo>
                  <a:lnTo>
                    <a:pt x="946712" y="301006"/>
                  </a:lnTo>
                  <a:lnTo>
                    <a:pt x="910380" y="301006"/>
                  </a:lnTo>
                  <a:lnTo>
                    <a:pt x="910380" y="275331"/>
                  </a:lnTo>
                  <a:lnTo>
                    <a:pt x="946611" y="275331"/>
                  </a:lnTo>
                  <a:lnTo>
                    <a:pt x="942528" y="269504"/>
                  </a:lnTo>
                  <a:lnTo>
                    <a:pt x="933898" y="264321"/>
                  </a:lnTo>
                  <a:lnTo>
                    <a:pt x="922987" y="262494"/>
                  </a:lnTo>
                  <a:close/>
                </a:path>
                <a:path w="950594" h="344805">
                  <a:moveTo>
                    <a:pt x="946611" y="275331"/>
                  </a:moveTo>
                  <a:lnTo>
                    <a:pt x="931092" y="275331"/>
                  </a:lnTo>
                  <a:lnTo>
                    <a:pt x="936505" y="280515"/>
                  </a:lnTo>
                  <a:lnTo>
                    <a:pt x="936505" y="296284"/>
                  </a:lnTo>
                  <a:lnTo>
                    <a:pt x="930872" y="301006"/>
                  </a:lnTo>
                  <a:lnTo>
                    <a:pt x="946712" y="301006"/>
                  </a:lnTo>
                  <a:lnTo>
                    <a:pt x="948092" y="299093"/>
                  </a:lnTo>
                  <a:lnTo>
                    <a:pt x="950243" y="288169"/>
                  </a:lnTo>
                  <a:lnTo>
                    <a:pt x="948202" y="277602"/>
                  </a:lnTo>
                  <a:lnTo>
                    <a:pt x="946611" y="275331"/>
                  </a:lnTo>
                  <a:close/>
                </a:path>
                <a:path w="950594" h="344805">
                  <a:moveTo>
                    <a:pt x="263374" y="262473"/>
                  </a:moveTo>
                  <a:lnTo>
                    <a:pt x="249866" y="262473"/>
                  </a:lnTo>
                  <a:lnTo>
                    <a:pt x="249866" y="343099"/>
                  </a:lnTo>
                  <a:lnTo>
                    <a:pt x="263374" y="343099"/>
                  </a:lnTo>
                  <a:lnTo>
                    <a:pt x="263374" y="304587"/>
                  </a:lnTo>
                  <a:lnTo>
                    <a:pt x="281128" y="304587"/>
                  </a:lnTo>
                  <a:lnTo>
                    <a:pt x="278693" y="301886"/>
                  </a:lnTo>
                  <a:lnTo>
                    <a:pt x="280102" y="300315"/>
                  </a:lnTo>
                  <a:lnTo>
                    <a:pt x="263374" y="300315"/>
                  </a:lnTo>
                  <a:lnTo>
                    <a:pt x="263374" y="262473"/>
                  </a:lnTo>
                  <a:close/>
                </a:path>
                <a:path w="950594" h="344805">
                  <a:moveTo>
                    <a:pt x="281128" y="304587"/>
                  </a:moveTo>
                  <a:lnTo>
                    <a:pt x="263374" y="304587"/>
                  </a:lnTo>
                  <a:lnTo>
                    <a:pt x="297613" y="343099"/>
                  </a:lnTo>
                  <a:lnTo>
                    <a:pt x="315854" y="343099"/>
                  </a:lnTo>
                  <a:lnTo>
                    <a:pt x="281128" y="304587"/>
                  </a:lnTo>
                  <a:close/>
                </a:path>
                <a:path w="950594" h="344805">
                  <a:moveTo>
                    <a:pt x="314053" y="262473"/>
                  </a:moveTo>
                  <a:lnTo>
                    <a:pt x="296933" y="262473"/>
                  </a:lnTo>
                  <a:lnTo>
                    <a:pt x="263374" y="300315"/>
                  </a:lnTo>
                  <a:lnTo>
                    <a:pt x="280102" y="300315"/>
                  </a:lnTo>
                  <a:lnTo>
                    <a:pt x="314053" y="262473"/>
                  </a:lnTo>
                  <a:close/>
                </a:path>
                <a:path w="950594" h="344805">
                  <a:moveTo>
                    <a:pt x="827723" y="262494"/>
                  </a:moveTo>
                  <a:lnTo>
                    <a:pt x="814205" y="262494"/>
                  </a:lnTo>
                  <a:lnTo>
                    <a:pt x="814205" y="314074"/>
                  </a:lnTo>
                  <a:lnTo>
                    <a:pt x="816433" y="326581"/>
                  </a:lnTo>
                  <a:lnTo>
                    <a:pt x="822736" y="336089"/>
                  </a:lnTo>
                  <a:lnTo>
                    <a:pt x="832546" y="342133"/>
                  </a:lnTo>
                  <a:lnTo>
                    <a:pt x="845293" y="344251"/>
                  </a:lnTo>
                  <a:lnTo>
                    <a:pt x="857937" y="342133"/>
                  </a:lnTo>
                  <a:lnTo>
                    <a:pt x="867754" y="336089"/>
                  </a:lnTo>
                  <a:lnTo>
                    <a:pt x="870880" y="331413"/>
                  </a:lnTo>
                  <a:lnTo>
                    <a:pt x="834477" y="331413"/>
                  </a:lnTo>
                  <a:lnTo>
                    <a:pt x="827723" y="324210"/>
                  </a:lnTo>
                  <a:lnTo>
                    <a:pt x="827723" y="262494"/>
                  </a:lnTo>
                  <a:close/>
                </a:path>
                <a:path w="950594" h="344805">
                  <a:moveTo>
                    <a:pt x="876371" y="262494"/>
                  </a:moveTo>
                  <a:lnTo>
                    <a:pt x="862633" y="262494"/>
                  </a:lnTo>
                  <a:lnTo>
                    <a:pt x="862633" y="324210"/>
                  </a:lnTo>
                  <a:lnTo>
                    <a:pt x="856549" y="331413"/>
                  </a:lnTo>
                  <a:lnTo>
                    <a:pt x="870880" y="331413"/>
                  </a:lnTo>
                  <a:lnTo>
                    <a:pt x="874111" y="326581"/>
                  </a:lnTo>
                  <a:lnTo>
                    <a:pt x="876371" y="314074"/>
                  </a:lnTo>
                  <a:lnTo>
                    <a:pt x="876371" y="262494"/>
                  </a:lnTo>
                  <a:close/>
                </a:path>
                <a:path w="950594" h="344805">
                  <a:moveTo>
                    <a:pt x="361360" y="0"/>
                  </a:moveTo>
                  <a:lnTo>
                    <a:pt x="325414" y="7158"/>
                  </a:lnTo>
                  <a:lnTo>
                    <a:pt x="296243" y="26749"/>
                  </a:lnTo>
                  <a:lnTo>
                    <a:pt x="276671" y="55946"/>
                  </a:lnTo>
                  <a:lnTo>
                    <a:pt x="269520" y="91923"/>
                  </a:lnTo>
                  <a:lnTo>
                    <a:pt x="276530" y="128196"/>
                  </a:lnTo>
                  <a:lnTo>
                    <a:pt x="295866" y="157542"/>
                  </a:lnTo>
                  <a:lnTo>
                    <a:pt x="324989" y="177185"/>
                  </a:lnTo>
                  <a:lnTo>
                    <a:pt x="361360" y="184350"/>
                  </a:lnTo>
                  <a:lnTo>
                    <a:pt x="397521" y="177185"/>
                  </a:lnTo>
                  <a:lnTo>
                    <a:pt x="426671" y="157542"/>
                  </a:lnTo>
                  <a:lnTo>
                    <a:pt x="427877" y="155723"/>
                  </a:lnTo>
                  <a:lnTo>
                    <a:pt x="361360" y="155723"/>
                  </a:lnTo>
                  <a:lnTo>
                    <a:pt x="337052" y="150698"/>
                  </a:lnTo>
                  <a:lnTo>
                    <a:pt x="317826" y="137008"/>
                  </a:lnTo>
                  <a:lnTo>
                    <a:pt x="305187" y="116726"/>
                  </a:lnTo>
                  <a:lnTo>
                    <a:pt x="300640" y="91923"/>
                  </a:lnTo>
                  <a:lnTo>
                    <a:pt x="305041" y="67412"/>
                  </a:lnTo>
                  <a:lnTo>
                    <a:pt x="317822" y="47278"/>
                  </a:lnTo>
                  <a:lnTo>
                    <a:pt x="337192" y="33643"/>
                  </a:lnTo>
                  <a:lnTo>
                    <a:pt x="361360" y="28627"/>
                  </a:lnTo>
                  <a:lnTo>
                    <a:pt x="427746" y="28627"/>
                  </a:lnTo>
                  <a:lnTo>
                    <a:pt x="426487" y="26749"/>
                  </a:lnTo>
                  <a:lnTo>
                    <a:pt x="397313" y="7158"/>
                  </a:lnTo>
                  <a:lnTo>
                    <a:pt x="361360" y="0"/>
                  </a:lnTo>
                  <a:close/>
                </a:path>
                <a:path w="950594" h="344805">
                  <a:moveTo>
                    <a:pt x="427746" y="28627"/>
                  </a:moveTo>
                  <a:lnTo>
                    <a:pt x="361360" y="28627"/>
                  </a:lnTo>
                  <a:lnTo>
                    <a:pt x="385670" y="33643"/>
                  </a:lnTo>
                  <a:lnTo>
                    <a:pt x="404899" y="47278"/>
                  </a:lnTo>
                  <a:lnTo>
                    <a:pt x="417542" y="67412"/>
                  </a:lnTo>
                  <a:lnTo>
                    <a:pt x="422091" y="91923"/>
                  </a:lnTo>
                  <a:lnTo>
                    <a:pt x="417542" y="116726"/>
                  </a:lnTo>
                  <a:lnTo>
                    <a:pt x="404899" y="137008"/>
                  </a:lnTo>
                  <a:lnTo>
                    <a:pt x="385670" y="150698"/>
                  </a:lnTo>
                  <a:lnTo>
                    <a:pt x="361360" y="155723"/>
                  </a:lnTo>
                  <a:lnTo>
                    <a:pt x="427877" y="155723"/>
                  </a:lnTo>
                  <a:lnTo>
                    <a:pt x="446129" y="128196"/>
                  </a:lnTo>
                  <a:lnTo>
                    <a:pt x="453211" y="91923"/>
                  </a:lnTo>
                  <a:lnTo>
                    <a:pt x="446060" y="55946"/>
                  </a:lnTo>
                  <a:lnTo>
                    <a:pt x="427746" y="28627"/>
                  </a:lnTo>
                  <a:close/>
                </a:path>
                <a:path w="950594" h="344805">
                  <a:moveTo>
                    <a:pt x="711695" y="2010"/>
                  </a:moveTo>
                  <a:lnTo>
                    <a:pt x="654974" y="2010"/>
                  </a:lnTo>
                  <a:lnTo>
                    <a:pt x="654974" y="181837"/>
                  </a:lnTo>
                  <a:lnTo>
                    <a:pt x="711695" y="181837"/>
                  </a:lnTo>
                  <a:lnTo>
                    <a:pt x="747720" y="175065"/>
                  </a:lnTo>
                  <a:lnTo>
                    <a:pt x="777064" y="156285"/>
                  </a:lnTo>
                  <a:lnTo>
                    <a:pt x="779196" y="153209"/>
                  </a:lnTo>
                  <a:lnTo>
                    <a:pt x="685078" y="153209"/>
                  </a:lnTo>
                  <a:lnTo>
                    <a:pt x="685078" y="31150"/>
                  </a:lnTo>
                  <a:lnTo>
                    <a:pt x="779375" y="31150"/>
                  </a:lnTo>
                  <a:lnTo>
                    <a:pt x="776875" y="27565"/>
                  </a:lnTo>
                  <a:lnTo>
                    <a:pt x="747508" y="8783"/>
                  </a:lnTo>
                  <a:lnTo>
                    <a:pt x="711695" y="2010"/>
                  </a:lnTo>
                  <a:close/>
                </a:path>
                <a:path w="950594" h="344805">
                  <a:moveTo>
                    <a:pt x="779375" y="31150"/>
                  </a:moveTo>
                  <a:lnTo>
                    <a:pt x="711695" y="31150"/>
                  </a:lnTo>
                  <a:lnTo>
                    <a:pt x="736211" y="35772"/>
                  </a:lnTo>
                  <a:lnTo>
                    <a:pt x="755414" y="48540"/>
                  </a:lnTo>
                  <a:lnTo>
                    <a:pt x="767938" y="67806"/>
                  </a:lnTo>
                  <a:lnTo>
                    <a:pt x="772416" y="91923"/>
                  </a:lnTo>
                  <a:lnTo>
                    <a:pt x="767938" y="116125"/>
                  </a:lnTo>
                  <a:lnTo>
                    <a:pt x="755414" y="135567"/>
                  </a:lnTo>
                  <a:lnTo>
                    <a:pt x="736211" y="148509"/>
                  </a:lnTo>
                  <a:lnTo>
                    <a:pt x="711695" y="153209"/>
                  </a:lnTo>
                  <a:lnTo>
                    <a:pt x="779196" y="153209"/>
                  </a:lnTo>
                  <a:lnTo>
                    <a:pt x="796808" y="127803"/>
                  </a:lnTo>
                  <a:lnTo>
                    <a:pt x="804038" y="91923"/>
                  </a:lnTo>
                  <a:lnTo>
                    <a:pt x="796738" y="56048"/>
                  </a:lnTo>
                  <a:lnTo>
                    <a:pt x="779375" y="31150"/>
                  </a:lnTo>
                  <a:close/>
                </a:path>
                <a:path w="950594" h="344805">
                  <a:moveTo>
                    <a:pt x="837157" y="140152"/>
                  </a:moveTo>
                  <a:lnTo>
                    <a:pt x="837157" y="170790"/>
                  </a:lnTo>
                  <a:lnTo>
                    <a:pt x="837670" y="170790"/>
                  </a:lnTo>
                  <a:lnTo>
                    <a:pt x="847155" y="175375"/>
                  </a:lnTo>
                  <a:lnTo>
                    <a:pt x="859370" y="179580"/>
                  </a:lnTo>
                  <a:lnTo>
                    <a:pt x="873656" y="182655"/>
                  </a:lnTo>
                  <a:lnTo>
                    <a:pt x="889355" y="183847"/>
                  </a:lnTo>
                  <a:lnTo>
                    <a:pt x="912263" y="180120"/>
                  </a:lnTo>
                  <a:lnTo>
                    <a:pt x="931830" y="169472"/>
                  </a:lnTo>
                  <a:lnTo>
                    <a:pt x="942601" y="156225"/>
                  </a:lnTo>
                  <a:lnTo>
                    <a:pt x="888862" y="156225"/>
                  </a:lnTo>
                  <a:lnTo>
                    <a:pt x="874092" y="154852"/>
                  </a:lnTo>
                  <a:lnTo>
                    <a:pt x="860312" y="151267"/>
                  </a:lnTo>
                  <a:lnTo>
                    <a:pt x="848133" y="146268"/>
                  </a:lnTo>
                  <a:lnTo>
                    <a:pt x="838162" y="140655"/>
                  </a:lnTo>
                  <a:lnTo>
                    <a:pt x="837157" y="140152"/>
                  </a:lnTo>
                  <a:close/>
                </a:path>
                <a:path w="950594" h="344805">
                  <a:moveTo>
                    <a:pt x="893375" y="502"/>
                  </a:moveTo>
                  <a:lnTo>
                    <a:pt x="853230" y="12554"/>
                  </a:lnTo>
                  <a:lnTo>
                    <a:pt x="834142" y="50228"/>
                  </a:lnTo>
                  <a:lnTo>
                    <a:pt x="838206" y="69893"/>
                  </a:lnTo>
                  <a:lnTo>
                    <a:pt x="848954" y="84328"/>
                  </a:lnTo>
                  <a:lnTo>
                    <a:pt x="864220" y="94525"/>
                  </a:lnTo>
                  <a:lnTo>
                    <a:pt x="881837" y="101473"/>
                  </a:lnTo>
                  <a:lnTo>
                    <a:pt x="897056" y="106673"/>
                  </a:lnTo>
                  <a:lnTo>
                    <a:pt x="909499" y="112582"/>
                  </a:lnTo>
                  <a:lnTo>
                    <a:pt x="917896" y="120471"/>
                  </a:lnTo>
                  <a:lnTo>
                    <a:pt x="920977" y="131608"/>
                  </a:lnTo>
                  <a:lnTo>
                    <a:pt x="918147" y="142659"/>
                  </a:lnTo>
                  <a:lnTo>
                    <a:pt x="910754" y="150321"/>
                  </a:lnTo>
                  <a:lnTo>
                    <a:pt x="900445" y="154780"/>
                  </a:lnTo>
                  <a:lnTo>
                    <a:pt x="888862" y="156225"/>
                  </a:lnTo>
                  <a:lnTo>
                    <a:pt x="942601" y="156225"/>
                  </a:lnTo>
                  <a:lnTo>
                    <a:pt x="945467" y="152700"/>
                  </a:lnTo>
                  <a:lnTo>
                    <a:pt x="950588" y="130603"/>
                  </a:lnTo>
                  <a:lnTo>
                    <a:pt x="946926" y="110764"/>
                  </a:lnTo>
                  <a:lnTo>
                    <a:pt x="936725" y="95821"/>
                  </a:lnTo>
                  <a:lnTo>
                    <a:pt x="921160" y="84833"/>
                  </a:lnTo>
                  <a:lnTo>
                    <a:pt x="901407" y="76856"/>
                  </a:lnTo>
                  <a:lnTo>
                    <a:pt x="882875" y="70430"/>
                  </a:lnTo>
                  <a:lnTo>
                    <a:pt x="870978" y="64238"/>
                  </a:lnTo>
                  <a:lnTo>
                    <a:pt x="864633" y="57575"/>
                  </a:lnTo>
                  <a:lnTo>
                    <a:pt x="862759" y="49736"/>
                  </a:lnTo>
                  <a:lnTo>
                    <a:pt x="865667" y="39362"/>
                  </a:lnTo>
                  <a:lnTo>
                    <a:pt x="873232" y="32711"/>
                  </a:lnTo>
                  <a:lnTo>
                    <a:pt x="883715" y="29169"/>
                  </a:lnTo>
                  <a:lnTo>
                    <a:pt x="895375" y="28124"/>
                  </a:lnTo>
                  <a:lnTo>
                    <a:pt x="938547" y="28124"/>
                  </a:lnTo>
                  <a:lnTo>
                    <a:pt x="938547" y="9538"/>
                  </a:lnTo>
                  <a:lnTo>
                    <a:pt x="928171" y="5587"/>
                  </a:lnTo>
                  <a:lnTo>
                    <a:pt x="917277" y="2763"/>
                  </a:lnTo>
                  <a:lnTo>
                    <a:pt x="905724" y="1067"/>
                  </a:lnTo>
                  <a:lnTo>
                    <a:pt x="893375" y="502"/>
                  </a:lnTo>
                  <a:close/>
                </a:path>
                <a:path w="950594" h="344805">
                  <a:moveTo>
                    <a:pt x="938547" y="28124"/>
                  </a:moveTo>
                  <a:lnTo>
                    <a:pt x="895375" y="28124"/>
                  </a:lnTo>
                  <a:lnTo>
                    <a:pt x="905080" y="28707"/>
                  </a:lnTo>
                  <a:lnTo>
                    <a:pt x="915771" y="30516"/>
                  </a:lnTo>
                  <a:lnTo>
                    <a:pt x="926932" y="33642"/>
                  </a:lnTo>
                  <a:lnTo>
                    <a:pt x="938044" y="38176"/>
                  </a:lnTo>
                  <a:lnTo>
                    <a:pt x="938547" y="38176"/>
                  </a:lnTo>
                  <a:lnTo>
                    <a:pt x="938547" y="28124"/>
                  </a:lnTo>
                  <a:close/>
                </a:path>
                <a:path w="950594" h="344805">
                  <a:moveTo>
                    <a:pt x="496382" y="2010"/>
                  </a:moveTo>
                  <a:lnTo>
                    <a:pt x="460739" y="2010"/>
                  </a:lnTo>
                  <a:lnTo>
                    <a:pt x="530507" y="111514"/>
                  </a:lnTo>
                  <a:lnTo>
                    <a:pt x="487849" y="181837"/>
                  </a:lnTo>
                  <a:lnTo>
                    <a:pt x="521973" y="181837"/>
                  </a:lnTo>
                  <a:lnTo>
                    <a:pt x="580411" y="84897"/>
                  </a:lnTo>
                  <a:lnTo>
                    <a:pt x="548067" y="84897"/>
                  </a:lnTo>
                  <a:lnTo>
                    <a:pt x="496382" y="2010"/>
                  </a:lnTo>
                  <a:close/>
                </a:path>
                <a:path w="950594" h="344805">
                  <a:moveTo>
                    <a:pt x="630378" y="2010"/>
                  </a:moveTo>
                  <a:lnTo>
                    <a:pt x="596254" y="2010"/>
                  </a:lnTo>
                  <a:lnTo>
                    <a:pt x="548067" y="84897"/>
                  </a:lnTo>
                  <a:lnTo>
                    <a:pt x="580411" y="84897"/>
                  </a:lnTo>
                  <a:lnTo>
                    <a:pt x="630378" y="2010"/>
                  </a:lnTo>
                  <a:close/>
                </a:path>
                <a:path w="950594" h="344805">
                  <a:moveTo>
                    <a:pt x="176162" y="2010"/>
                  </a:moveTo>
                  <a:lnTo>
                    <a:pt x="145545" y="2010"/>
                  </a:lnTo>
                  <a:lnTo>
                    <a:pt x="145545" y="181837"/>
                  </a:lnTo>
                  <a:lnTo>
                    <a:pt x="258976" y="181837"/>
                  </a:lnTo>
                  <a:lnTo>
                    <a:pt x="258976" y="152204"/>
                  </a:lnTo>
                  <a:lnTo>
                    <a:pt x="176162" y="152204"/>
                  </a:lnTo>
                  <a:lnTo>
                    <a:pt x="176162" y="2010"/>
                  </a:lnTo>
                  <a:close/>
                </a:path>
                <a:path w="950594" h="344805">
                  <a:moveTo>
                    <a:pt x="30616" y="2010"/>
                  </a:moveTo>
                  <a:lnTo>
                    <a:pt x="0" y="2010"/>
                  </a:lnTo>
                  <a:lnTo>
                    <a:pt x="0" y="181837"/>
                  </a:lnTo>
                  <a:lnTo>
                    <a:pt x="113431" y="181837"/>
                  </a:lnTo>
                  <a:lnTo>
                    <a:pt x="113431" y="152204"/>
                  </a:lnTo>
                  <a:lnTo>
                    <a:pt x="30616" y="152204"/>
                  </a:lnTo>
                  <a:lnTo>
                    <a:pt x="30616" y="2010"/>
                  </a:lnTo>
                  <a:close/>
                </a:path>
                <a:path w="950594" h="344805">
                  <a:moveTo>
                    <a:pt x="341078" y="262473"/>
                  </a:moveTo>
                  <a:lnTo>
                    <a:pt x="327340" y="262473"/>
                  </a:lnTo>
                  <a:lnTo>
                    <a:pt x="327340" y="343099"/>
                  </a:lnTo>
                  <a:lnTo>
                    <a:pt x="341078" y="343099"/>
                  </a:lnTo>
                  <a:lnTo>
                    <a:pt x="341078" y="262473"/>
                  </a:lnTo>
                  <a:close/>
                </a:path>
                <a:path w="950594" h="344805">
                  <a:moveTo>
                    <a:pt x="376889" y="262473"/>
                  </a:moveTo>
                  <a:lnTo>
                    <a:pt x="364501" y="262473"/>
                  </a:lnTo>
                  <a:lnTo>
                    <a:pt x="364501" y="343099"/>
                  </a:lnTo>
                  <a:lnTo>
                    <a:pt x="377789" y="343099"/>
                  </a:lnTo>
                  <a:lnTo>
                    <a:pt x="377789" y="284315"/>
                  </a:lnTo>
                  <a:lnTo>
                    <a:pt x="393992" y="284315"/>
                  </a:lnTo>
                  <a:lnTo>
                    <a:pt x="376889" y="262473"/>
                  </a:lnTo>
                  <a:close/>
                </a:path>
                <a:path w="950594" h="344805">
                  <a:moveTo>
                    <a:pt x="393992" y="284315"/>
                  </a:moveTo>
                  <a:lnTo>
                    <a:pt x="377789" y="284315"/>
                  </a:lnTo>
                  <a:lnTo>
                    <a:pt x="423735" y="343099"/>
                  </a:lnTo>
                  <a:lnTo>
                    <a:pt x="434091" y="343099"/>
                  </a:lnTo>
                  <a:lnTo>
                    <a:pt x="434091" y="318555"/>
                  </a:lnTo>
                  <a:lnTo>
                    <a:pt x="420803" y="318555"/>
                  </a:lnTo>
                  <a:lnTo>
                    <a:pt x="393992" y="284315"/>
                  </a:lnTo>
                  <a:close/>
                </a:path>
                <a:path w="950594" h="344805">
                  <a:moveTo>
                    <a:pt x="434091" y="262473"/>
                  </a:moveTo>
                  <a:lnTo>
                    <a:pt x="420803" y="262473"/>
                  </a:lnTo>
                  <a:lnTo>
                    <a:pt x="420803" y="318555"/>
                  </a:lnTo>
                  <a:lnTo>
                    <a:pt x="434091" y="318555"/>
                  </a:lnTo>
                  <a:lnTo>
                    <a:pt x="434091" y="262473"/>
                  </a:lnTo>
                  <a:close/>
                </a:path>
                <a:path w="950594" h="344805">
                  <a:moveTo>
                    <a:pt x="111357" y="262243"/>
                  </a:moveTo>
                  <a:lnTo>
                    <a:pt x="97839" y="262243"/>
                  </a:lnTo>
                  <a:lnTo>
                    <a:pt x="65181" y="343099"/>
                  </a:lnTo>
                  <a:lnTo>
                    <a:pt x="79599" y="343099"/>
                  </a:lnTo>
                  <a:lnTo>
                    <a:pt x="88154" y="321026"/>
                  </a:lnTo>
                  <a:lnTo>
                    <a:pt x="135420" y="321026"/>
                  </a:lnTo>
                  <a:lnTo>
                    <a:pt x="130350" y="308639"/>
                  </a:lnTo>
                  <a:lnTo>
                    <a:pt x="92887" y="308639"/>
                  </a:lnTo>
                  <a:lnTo>
                    <a:pt x="104824" y="278462"/>
                  </a:lnTo>
                  <a:lnTo>
                    <a:pt x="117997" y="278462"/>
                  </a:lnTo>
                  <a:lnTo>
                    <a:pt x="111357" y="262243"/>
                  </a:lnTo>
                  <a:close/>
                </a:path>
                <a:path w="950594" h="344805">
                  <a:moveTo>
                    <a:pt x="135420" y="321026"/>
                  </a:moveTo>
                  <a:lnTo>
                    <a:pt x="121043" y="321026"/>
                  </a:lnTo>
                  <a:lnTo>
                    <a:pt x="129818" y="343099"/>
                  </a:lnTo>
                  <a:lnTo>
                    <a:pt x="144456" y="343099"/>
                  </a:lnTo>
                  <a:lnTo>
                    <a:pt x="135420" y="321026"/>
                  </a:lnTo>
                  <a:close/>
                </a:path>
                <a:path w="950594" h="344805">
                  <a:moveTo>
                    <a:pt x="117997" y="278462"/>
                  </a:moveTo>
                  <a:lnTo>
                    <a:pt x="104824" y="278462"/>
                  </a:lnTo>
                  <a:lnTo>
                    <a:pt x="116310" y="308639"/>
                  </a:lnTo>
                  <a:lnTo>
                    <a:pt x="130350" y="308639"/>
                  </a:lnTo>
                  <a:lnTo>
                    <a:pt x="117997" y="278462"/>
                  </a:lnTo>
                  <a:close/>
                </a:path>
                <a:path w="950594" h="344805">
                  <a:moveTo>
                    <a:pt x="755652" y="261594"/>
                  </a:moveTo>
                  <a:lnTo>
                    <a:pt x="739422" y="264804"/>
                  </a:lnTo>
                  <a:lnTo>
                    <a:pt x="726339" y="273589"/>
                  </a:lnTo>
                  <a:lnTo>
                    <a:pt x="717606" y="286680"/>
                  </a:lnTo>
                  <a:lnTo>
                    <a:pt x="714428" y="302807"/>
                  </a:lnTo>
                  <a:lnTo>
                    <a:pt x="717606" y="319072"/>
                  </a:lnTo>
                  <a:lnTo>
                    <a:pt x="726339" y="332230"/>
                  </a:lnTo>
                  <a:lnTo>
                    <a:pt x="739422" y="341038"/>
                  </a:lnTo>
                  <a:lnTo>
                    <a:pt x="755652" y="344251"/>
                  </a:lnTo>
                  <a:lnTo>
                    <a:pt x="771876" y="341038"/>
                  </a:lnTo>
                  <a:lnTo>
                    <a:pt x="784956" y="332230"/>
                  </a:lnTo>
                  <a:lnTo>
                    <a:pt x="785498" y="331413"/>
                  </a:lnTo>
                  <a:lnTo>
                    <a:pt x="755652" y="331413"/>
                  </a:lnTo>
                  <a:lnTo>
                    <a:pt x="744741" y="329161"/>
                  </a:lnTo>
                  <a:lnTo>
                    <a:pt x="736111" y="323024"/>
                  </a:lnTo>
                  <a:lnTo>
                    <a:pt x="730437" y="313929"/>
                  </a:lnTo>
                  <a:lnTo>
                    <a:pt x="728396" y="302807"/>
                  </a:lnTo>
                  <a:lnTo>
                    <a:pt x="730345" y="291818"/>
                  </a:lnTo>
                  <a:lnTo>
                    <a:pt x="736028" y="282792"/>
                  </a:lnTo>
                  <a:lnTo>
                    <a:pt x="744710" y="276680"/>
                  </a:lnTo>
                  <a:lnTo>
                    <a:pt x="755652" y="274431"/>
                  </a:lnTo>
                  <a:lnTo>
                    <a:pt x="785517" y="274431"/>
                  </a:lnTo>
                  <a:lnTo>
                    <a:pt x="784956" y="273589"/>
                  </a:lnTo>
                  <a:lnTo>
                    <a:pt x="771876" y="264804"/>
                  </a:lnTo>
                  <a:lnTo>
                    <a:pt x="755652" y="261594"/>
                  </a:lnTo>
                  <a:close/>
                </a:path>
                <a:path w="950594" h="344805">
                  <a:moveTo>
                    <a:pt x="785517" y="274431"/>
                  </a:moveTo>
                  <a:lnTo>
                    <a:pt x="755652" y="274431"/>
                  </a:lnTo>
                  <a:lnTo>
                    <a:pt x="766557" y="276680"/>
                  </a:lnTo>
                  <a:lnTo>
                    <a:pt x="775184" y="282792"/>
                  </a:lnTo>
                  <a:lnTo>
                    <a:pt x="780856" y="291818"/>
                  </a:lnTo>
                  <a:lnTo>
                    <a:pt x="782897" y="302807"/>
                  </a:lnTo>
                  <a:lnTo>
                    <a:pt x="780856" y="313929"/>
                  </a:lnTo>
                  <a:lnTo>
                    <a:pt x="775184" y="323024"/>
                  </a:lnTo>
                  <a:lnTo>
                    <a:pt x="766557" y="329161"/>
                  </a:lnTo>
                  <a:lnTo>
                    <a:pt x="755652" y="331413"/>
                  </a:lnTo>
                  <a:lnTo>
                    <a:pt x="785498" y="331413"/>
                  </a:lnTo>
                  <a:lnTo>
                    <a:pt x="793687" y="319072"/>
                  </a:lnTo>
                  <a:lnTo>
                    <a:pt x="796865" y="302807"/>
                  </a:lnTo>
                  <a:lnTo>
                    <a:pt x="793687" y="286680"/>
                  </a:lnTo>
                  <a:lnTo>
                    <a:pt x="785517" y="274431"/>
                  </a:lnTo>
                  <a:close/>
                </a:path>
                <a:path w="950594" h="344805">
                  <a:moveTo>
                    <a:pt x="612630" y="261824"/>
                  </a:moveTo>
                  <a:lnTo>
                    <a:pt x="605426" y="261824"/>
                  </a:lnTo>
                  <a:lnTo>
                    <a:pt x="588050" y="264807"/>
                  </a:lnTo>
                  <a:lnTo>
                    <a:pt x="574202" y="273194"/>
                  </a:lnTo>
                  <a:lnTo>
                    <a:pt x="565042" y="286142"/>
                  </a:lnTo>
                  <a:lnTo>
                    <a:pt x="561731" y="302807"/>
                  </a:lnTo>
                  <a:lnTo>
                    <a:pt x="564747" y="319072"/>
                  </a:lnTo>
                  <a:lnTo>
                    <a:pt x="573359" y="332230"/>
                  </a:lnTo>
                  <a:lnTo>
                    <a:pt x="586910" y="341038"/>
                  </a:lnTo>
                  <a:lnTo>
                    <a:pt x="604745" y="344251"/>
                  </a:lnTo>
                  <a:lnTo>
                    <a:pt x="611510" y="344251"/>
                  </a:lnTo>
                  <a:lnTo>
                    <a:pt x="620295" y="342670"/>
                  </a:lnTo>
                  <a:lnTo>
                    <a:pt x="625247" y="341319"/>
                  </a:lnTo>
                  <a:lnTo>
                    <a:pt x="625467" y="341319"/>
                  </a:lnTo>
                  <a:lnTo>
                    <a:pt x="625467" y="331644"/>
                  </a:lnTo>
                  <a:lnTo>
                    <a:pt x="604295" y="331644"/>
                  </a:lnTo>
                  <a:lnTo>
                    <a:pt x="592609" y="329356"/>
                  </a:lnTo>
                  <a:lnTo>
                    <a:pt x="583581" y="323139"/>
                  </a:lnTo>
                  <a:lnTo>
                    <a:pt x="577761" y="313965"/>
                  </a:lnTo>
                  <a:lnTo>
                    <a:pt x="575699" y="302807"/>
                  </a:lnTo>
                  <a:lnTo>
                    <a:pt x="577745" y="291888"/>
                  </a:lnTo>
                  <a:lnTo>
                    <a:pt x="583805" y="283017"/>
                  </a:lnTo>
                  <a:lnTo>
                    <a:pt x="593244" y="277059"/>
                  </a:lnTo>
                  <a:lnTo>
                    <a:pt x="605426" y="274881"/>
                  </a:lnTo>
                  <a:lnTo>
                    <a:pt x="623446" y="274881"/>
                  </a:lnTo>
                  <a:lnTo>
                    <a:pt x="623446" y="264745"/>
                  </a:lnTo>
                  <a:lnTo>
                    <a:pt x="619394" y="263395"/>
                  </a:lnTo>
                  <a:lnTo>
                    <a:pt x="612630" y="261824"/>
                  </a:lnTo>
                  <a:close/>
                </a:path>
                <a:path w="950594" h="344805">
                  <a:moveTo>
                    <a:pt x="625467" y="300556"/>
                  </a:moveTo>
                  <a:lnTo>
                    <a:pt x="612180" y="300556"/>
                  </a:lnTo>
                  <a:lnTo>
                    <a:pt x="612180" y="330963"/>
                  </a:lnTo>
                  <a:lnTo>
                    <a:pt x="610379" y="331183"/>
                  </a:lnTo>
                  <a:lnTo>
                    <a:pt x="607227" y="331644"/>
                  </a:lnTo>
                  <a:lnTo>
                    <a:pt x="625467" y="331644"/>
                  </a:lnTo>
                  <a:lnTo>
                    <a:pt x="625467" y="300556"/>
                  </a:lnTo>
                  <a:close/>
                </a:path>
                <a:path w="950594" h="344805">
                  <a:moveTo>
                    <a:pt x="623446" y="274881"/>
                  </a:moveTo>
                  <a:lnTo>
                    <a:pt x="611279" y="274881"/>
                  </a:lnTo>
                  <a:lnTo>
                    <a:pt x="618044" y="276462"/>
                  </a:lnTo>
                  <a:lnTo>
                    <a:pt x="623446" y="278263"/>
                  </a:lnTo>
                  <a:lnTo>
                    <a:pt x="623446" y="274881"/>
                  </a:lnTo>
                  <a:close/>
                </a:path>
                <a:path w="950594" h="344805">
                  <a:moveTo>
                    <a:pt x="502340" y="261803"/>
                  </a:moveTo>
                  <a:lnTo>
                    <a:pt x="495126" y="261803"/>
                  </a:lnTo>
                  <a:lnTo>
                    <a:pt x="477756" y="264786"/>
                  </a:lnTo>
                  <a:lnTo>
                    <a:pt x="463911" y="273173"/>
                  </a:lnTo>
                  <a:lnTo>
                    <a:pt x="454752" y="286121"/>
                  </a:lnTo>
                  <a:lnTo>
                    <a:pt x="451441" y="302786"/>
                  </a:lnTo>
                  <a:lnTo>
                    <a:pt x="454456" y="319051"/>
                  </a:lnTo>
                  <a:lnTo>
                    <a:pt x="463065" y="332209"/>
                  </a:lnTo>
                  <a:lnTo>
                    <a:pt x="476616" y="341017"/>
                  </a:lnTo>
                  <a:lnTo>
                    <a:pt x="494456" y="344230"/>
                  </a:lnTo>
                  <a:lnTo>
                    <a:pt x="501209" y="344230"/>
                  </a:lnTo>
                  <a:lnTo>
                    <a:pt x="509994" y="342649"/>
                  </a:lnTo>
                  <a:lnTo>
                    <a:pt x="514947" y="341298"/>
                  </a:lnTo>
                  <a:lnTo>
                    <a:pt x="515178" y="341298"/>
                  </a:lnTo>
                  <a:lnTo>
                    <a:pt x="515178" y="331612"/>
                  </a:lnTo>
                  <a:lnTo>
                    <a:pt x="494005" y="331612"/>
                  </a:lnTo>
                  <a:lnTo>
                    <a:pt x="482313" y="329326"/>
                  </a:lnTo>
                  <a:lnTo>
                    <a:pt x="473282" y="323113"/>
                  </a:lnTo>
                  <a:lnTo>
                    <a:pt x="467461" y="313943"/>
                  </a:lnTo>
                  <a:lnTo>
                    <a:pt x="465399" y="302786"/>
                  </a:lnTo>
                  <a:lnTo>
                    <a:pt x="467449" y="291867"/>
                  </a:lnTo>
                  <a:lnTo>
                    <a:pt x="473509" y="282996"/>
                  </a:lnTo>
                  <a:lnTo>
                    <a:pt x="482945" y="277039"/>
                  </a:lnTo>
                  <a:lnTo>
                    <a:pt x="495126" y="274860"/>
                  </a:lnTo>
                  <a:lnTo>
                    <a:pt x="513146" y="274860"/>
                  </a:lnTo>
                  <a:lnTo>
                    <a:pt x="513146" y="264724"/>
                  </a:lnTo>
                  <a:lnTo>
                    <a:pt x="509094" y="263374"/>
                  </a:lnTo>
                  <a:lnTo>
                    <a:pt x="502340" y="261803"/>
                  </a:lnTo>
                  <a:close/>
                </a:path>
                <a:path w="950594" h="344805">
                  <a:moveTo>
                    <a:pt x="515178" y="300535"/>
                  </a:moveTo>
                  <a:lnTo>
                    <a:pt x="501890" y="300535"/>
                  </a:lnTo>
                  <a:lnTo>
                    <a:pt x="501890" y="330942"/>
                  </a:lnTo>
                  <a:lnTo>
                    <a:pt x="500089" y="331162"/>
                  </a:lnTo>
                  <a:lnTo>
                    <a:pt x="496937" y="331612"/>
                  </a:lnTo>
                  <a:lnTo>
                    <a:pt x="515178" y="331612"/>
                  </a:lnTo>
                  <a:lnTo>
                    <a:pt x="515178" y="300535"/>
                  </a:lnTo>
                  <a:close/>
                </a:path>
                <a:path w="950594" h="344805">
                  <a:moveTo>
                    <a:pt x="513146" y="274860"/>
                  </a:moveTo>
                  <a:lnTo>
                    <a:pt x="500989" y="274860"/>
                  </a:lnTo>
                  <a:lnTo>
                    <a:pt x="507743" y="276441"/>
                  </a:lnTo>
                  <a:lnTo>
                    <a:pt x="513146" y="278242"/>
                  </a:lnTo>
                  <a:lnTo>
                    <a:pt x="513146" y="27486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0">
              <a:extLst>
                <a:ext uri="{FF2B5EF4-FFF2-40B4-BE49-F238E27FC236}">
                  <a16:creationId xmlns="" xmlns:a16="http://schemas.microsoft.com/office/drawing/2014/main" id="{67B12171-6C7C-8943-C64C-3AF9507CE502}"/>
                </a:ext>
              </a:extLst>
            </p:cNvPr>
            <p:cNvPicPr/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486368" y="602002"/>
              <a:ext cx="890171" cy="890171"/>
            </a:xfrm>
            <a:prstGeom prst="rect">
              <a:avLst/>
            </a:prstGeom>
          </p:spPr>
        </p:pic>
      </p:grp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349A8F11-0144-E099-40A9-667D68F1B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="" xmlns:a16="http://schemas.microsoft.com/office/drawing/2014/main" id="{33462E6D-6B25-B0AB-4F7E-78E3DE53C6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4074" y="701675"/>
            <a:ext cx="152709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F4F4F4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Picture Placeholder 34">
            <a:extLst>
              <a:ext uri="{FF2B5EF4-FFF2-40B4-BE49-F238E27FC236}">
                <a16:creationId xmlns="" xmlns:a16="http://schemas.microsoft.com/office/drawing/2014/main" id="{A894E9C4-3C3E-2D81-D23D-F613E475834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72590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="" xmlns:a16="http://schemas.microsoft.com/office/drawing/2014/main" id="{773CB30F-3A19-263C-9D9B-4E4355232D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9096" y="3564277"/>
            <a:ext cx="3752874" cy="1162626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="" xmlns:a16="http://schemas.microsoft.com/office/drawing/2014/main" id="{9DE8726F-6B6E-D368-F6AB-739B8CB0CF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56952" y="3562468"/>
            <a:ext cx="3371531" cy="1141082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>
                <a:gradFill flip="none" rotWithShape="1">
                  <a:gsLst>
                    <a:gs pos="20000">
                      <a:srgbClr val="0074C8"/>
                    </a:gs>
                    <a:gs pos="70000">
                      <a:srgbClr val="6CBE99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="" xmlns:a16="http://schemas.microsoft.com/office/drawing/2014/main" id="{3F3ADF45-8DEA-7B3F-DF98-9D094D99CC0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662444" y="3526048"/>
            <a:ext cx="3371531" cy="1141082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>
                <a:gradFill flip="none" rotWithShape="1">
                  <a:gsLst>
                    <a:gs pos="20000">
                      <a:srgbClr val="DF1642"/>
                    </a:gs>
                    <a:gs pos="80000">
                      <a:srgbClr val="F7A6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="" xmlns:a16="http://schemas.microsoft.com/office/drawing/2014/main" id="{1D95DE0D-B697-E75C-D009-F107D160C3E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9098" y="5362300"/>
            <a:ext cx="3868808" cy="293669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="" xmlns:a16="http://schemas.microsoft.com/office/drawing/2014/main" id="{03AC9858-A7EC-1719-6DF3-51021588F1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659721" y="5362299"/>
            <a:ext cx="3823503" cy="29367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="" xmlns:a16="http://schemas.microsoft.com/office/drawing/2014/main" id="{1AD6A509-E71C-C5C2-5DC0-D03015929D2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668801" y="5325879"/>
            <a:ext cx="3981862" cy="29367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="" xmlns:a16="http://schemas.microsoft.com/office/drawing/2014/main" id="{2E8EE34E-59EF-F445-E371-5BFCECE63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829883" y="3526048"/>
            <a:ext cx="3371531" cy="1141082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600" b="1" i="0" spc="-140" dirty="0">
                <a:gradFill flip="none" rotWithShape="1">
                  <a:gsLst>
                    <a:gs pos="80000">
                      <a:srgbClr val="75B94E"/>
                    </a:gs>
                    <a:gs pos="20000">
                      <a:srgbClr val="00838A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="" xmlns:a16="http://schemas.microsoft.com/office/drawing/2014/main" id="{F2034D1E-8A64-5711-9B27-AA6B88A297C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5836240" y="5325879"/>
            <a:ext cx="3655008" cy="293670"/>
          </a:xfrm>
        </p:spPr>
        <p:txBody>
          <a:bodyPr vert="horz" wrap="square" lIns="0" tIns="16510" rIns="0" bIns="0" rtlCol="0">
            <a:spAutoFit/>
          </a:bodyPr>
          <a:lstStyle>
            <a:lvl1pPr>
              <a:defRPr lang="en-US" sz="180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Picture Placeholder 34">
            <a:extLst>
              <a:ext uri="{FF2B5EF4-FFF2-40B4-BE49-F238E27FC236}">
                <a16:creationId xmlns="" xmlns:a16="http://schemas.microsoft.com/office/drawing/2014/main" id="{5D0F9A94-110E-18FA-4BED-EC910BB48AF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656952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2" name="Picture Placeholder 34">
            <a:extLst>
              <a:ext uri="{FF2B5EF4-FFF2-40B4-BE49-F238E27FC236}">
                <a16:creationId xmlns="" xmlns:a16="http://schemas.microsoft.com/office/drawing/2014/main" id="{F2A9DC2C-3C78-A1DC-C643-8027A6211B7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618365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3" name="Picture Placeholder 34">
            <a:extLst>
              <a:ext uri="{FF2B5EF4-FFF2-40B4-BE49-F238E27FC236}">
                <a16:creationId xmlns="" xmlns:a16="http://schemas.microsoft.com/office/drawing/2014/main" id="{033C0287-67A9-A2D6-D9E2-71AD5AE927A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5819623" y="2647249"/>
            <a:ext cx="795019" cy="7252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4" name="object 22">
            <a:extLst>
              <a:ext uri="{FF2B5EF4-FFF2-40B4-BE49-F238E27FC236}">
                <a16:creationId xmlns="" xmlns:a16="http://schemas.microsoft.com/office/drawing/2014/main" id="{419A5F51-14A1-D176-DE37-3770B7B5B9D2}"/>
              </a:ext>
            </a:extLst>
          </p:cNvPr>
          <p:cNvSpPr/>
          <p:nvPr userDrawn="1"/>
        </p:nvSpPr>
        <p:spPr>
          <a:xfrm>
            <a:off x="5057265" y="5398717"/>
            <a:ext cx="45719" cy="4711977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3">
            <a:extLst>
              <a:ext uri="{FF2B5EF4-FFF2-40B4-BE49-F238E27FC236}">
                <a16:creationId xmlns="" xmlns:a16="http://schemas.microsoft.com/office/drawing/2014/main" id="{6F3270B4-26D3-574A-D072-00AEE6956027}"/>
              </a:ext>
            </a:extLst>
          </p:cNvPr>
          <p:cNvSpPr/>
          <p:nvPr userDrawn="1"/>
        </p:nvSpPr>
        <p:spPr>
          <a:xfrm>
            <a:off x="10077299" y="5362298"/>
            <a:ext cx="45719" cy="4711977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3">
            <a:extLst>
              <a:ext uri="{FF2B5EF4-FFF2-40B4-BE49-F238E27FC236}">
                <a16:creationId xmlns="" xmlns:a16="http://schemas.microsoft.com/office/drawing/2014/main" id="{3D35EDA4-E3EE-243D-114A-66ADD7F560C0}"/>
              </a:ext>
            </a:extLst>
          </p:cNvPr>
          <p:cNvSpPr/>
          <p:nvPr userDrawn="1"/>
        </p:nvSpPr>
        <p:spPr>
          <a:xfrm flipH="1">
            <a:off x="15005844" y="5362298"/>
            <a:ext cx="74179" cy="4711977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14581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D3AC9A2-8054-52A3-D5B8-CEE708D3B6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20105688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D343A3D9-8CFF-5F2E-0F5D-EA7841586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4">
            <a:extLst>
              <a:ext uri="{FF2B5EF4-FFF2-40B4-BE49-F238E27FC236}">
                <a16:creationId xmlns="" xmlns:a16="http://schemas.microsoft.com/office/drawing/2014/main" id="{DB47AB33-7278-D9E5-C858-D503FE3993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712" y="1920875"/>
            <a:ext cx="12942331" cy="322520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800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5299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8599B6E0-D573-AC7A-67D0-EB77B31D5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792F1C6-2A86-E42B-0B26-242B6EB31B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712" y="1210267"/>
            <a:ext cx="12942331" cy="75686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800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332EF91A-7387-CF3B-1F99-5BDA029927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511675"/>
            <a:ext cx="12044363" cy="679767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207F952-F4FB-A657-7D87-C63E9FBAD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95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AE8E044B-8E58-1803-CA56-5A388DB94065}"/>
              </a:ext>
            </a:extLst>
          </p:cNvPr>
          <p:cNvSpPr/>
          <p:nvPr userDrawn="1"/>
        </p:nvSpPr>
        <p:spPr>
          <a:xfrm>
            <a:off x="1" y="0"/>
            <a:ext cx="20105687" cy="11309350"/>
          </a:xfrm>
          <a:prstGeom prst="rect">
            <a:avLst/>
          </a:prstGeom>
          <a:gradFill>
            <a:gsLst>
              <a:gs pos="77000">
                <a:srgbClr val="64AD1C"/>
              </a:gs>
              <a:gs pos="38000">
                <a:srgbClr val="00863B"/>
              </a:gs>
              <a:gs pos="96000">
                <a:srgbClr val="BCCF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8599B6E0-D573-AC7A-67D0-EB77B31D5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792F1C6-2A86-E42B-0B26-242B6EB31B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712" y="1210267"/>
            <a:ext cx="12942331" cy="75686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332EF91A-7387-CF3B-1F99-5BDA029927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511675"/>
            <a:ext cx="12044363" cy="679767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674D1AE9-28A7-07F1-47A0-C53FECFC0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774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="" xmlns:a16="http://schemas.microsoft.com/office/drawing/2014/main" id="{7991E173-1232-62F2-4C26-DFD9BDF37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CC7C0627-2AB4-9511-52B9-3F44C048B5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="" xmlns:a16="http://schemas.microsoft.com/office/drawing/2014/main" id="{DB757770-4206-0C76-4E41-ED64E1B938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2" y="701675"/>
            <a:ext cx="13366306" cy="129540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Holder 6">
            <a:extLst>
              <a:ext uri="{FF2B5EF4-FFF2-40B4-BE49-F238E27FC236}">
                <a16:creationId xmlns="" xmlns:a16="http://schemas.microsoft.com/office/drawing/2014/main" id="{7DB74945-0F7F-BA03-F46B-DCE67715EBF6}"/>
              </a:ext>
            </a:extLst>
          </p:cNvPr>
          <p:cNvSpPr txBox="1">
            <a:spLocks/>
          </p:cNvSpPr>
          <p:nvPr userDrawn="1"/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kern="0"/>
            </a:defPPr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FD9A6C18-A68D-D674-BF2A-165A197324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8050" y="2454275"/>
            <a:ext cx="18670588" cy="75438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496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White B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636192"/>
            <a:ext cx="1359492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4328" y="3533664"/>
            <a:ext cx="13564671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BCA0D032-C06D-A012-2254-514C66032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9867B4DB-4D39-935F-6874-95545F6887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30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="" xmlns:a16="http://schemas.microsoft.com/office/drawing/2014/main" id="{BCA0D032-C06D-A012-2254-514C66032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257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 White B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80F458C-3ACB-3BD5-3CE0-6FF318612890}"/>
              </a:ext>
            </a:extLst>
          </p:cNvPr>
          <p:cNvSpPr/>
          <p:nvPr userDrawn="1"/>
        </p:nvSpPr>
        <p:spPr>
          <a:xfrm>
            <a:off x="10052844" y="-6351"/>
            <a:ext cx="10052844" cy="11315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6" y="1554535"/>
            <a:ext cx="1337152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7958" y="3977456"/>
            <a:ext cx="8424921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3F9C93D-5348-CEDD-B1C6-A182B50F37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119729" y="1691456"/>
            <a:ext cx="8031797" cy="8001000"/>
          </a:xfrm>
          <a:prstGeom prst="rect">
            <a:avLst/>
          </a:prstGeom>
        </p:spPr>
        <p:txBody>
          <a:bodyPr/>
          <a:lstStyle>
            <a:lvl1pPr marL="285779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24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70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6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1" indent="-285779">
              <a:buClr>
                <a:srgbClr val="007C43"/>
              </a:buClr>
              <a:buFont typeface="Wingdings" panose="05000000000000000000" pitchFamily="2" charset="2"/>
              <a:buChar char="§"/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BD70ED5A-5674-FC1E-5B43-5FF015873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4262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hite BG plus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119E8873-3A0B-4659-FCED-6C8C0A8223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52844" y="0"/>
            <a:ext cx="10049669" cy="11309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6" y="930275"/>
            <a:ext cx="8336708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7958" y="3596456"/>
            <a:ext cx="8424921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8561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hite BG plus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6" y="930275"/>
            <a:ext cx="622697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72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C14D09-A874-2089-376F-724186D439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7958" y="3596456"/>
            <a:ext cx="6292863" cy="5715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 descr="Graphical user interface, text, application, chat or text message&#10;&#10;Description automatically generated">
            <a:extLst>
              <a:ext uri="{FF2B5EF4-FFF2-40B4-BE49-F238E27FC236}">
                <a16:creationId xmlns="" xmlns:a16="http://schemas.microsoft.com/office/drawing/2014/main" id="{8B9D6491-75F6-1DF3-22BC-C2256A0B1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2844" y="0"/>
            <a:ext cx="10052755" cy="1130935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EAAED635-B99A-C14F-0818-96454FB6C5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398165" y="1403131"/>
            <a:ext cx="3752193" cy="7961586"/>
          </a:xfrm>
          <a:custGeom>
            <a:avLst/>
            <a:gdLst>
              <a:gd name="connsiteX0" fmla="*/ 354751 w 3641834"/>
              <a:gd name="connsiteY0" fmla="*/ 0 h 7961586"/>
              <a:gd name="connsiteX1" fmla="*/ 3287083 w 3641834"/>
              <a:gd name="connsiteY1" fmla="*/ 0 h 7961586"/>
              <a:gd name="connsiteX2" fmla="*/ 3641834 w 3641834"/>
              <a:gd name="connsiteY2" fmla="*/ 354751 h 7961586"/>
              <a:gd name="connsiteX3" fmla="*/ 3641834 w 3641834"/>
              <a:gd name="connsiteY3" fmla="*/ 7606835 h 7961586"/>
              <a:gd name="connsiteX4" fmla="*/ 3287083 w 3641834"/>
              <a:gd name="connsiteY4" fmla="*/ 7961586 h 7961586"/>
              <a:gd name="connsiteX5" fmla="*/ 354751 w 3641834"/>
              <a:gd name="connsiteY5" fmla="*/ 7961586 h 7961586"/>
              <a:gd name="connsiteX6" fmla="*/ 0 w 3641834"/>
              <a:gd name="connsiteY6" fmla="*/ 7606835 h 7961586"/>
              <a:gd name="connsiteX7" fmla="*/ 0 w 3641834"/>
              <a:gd name="connsiteY7" fmla="*/ 354751 h 7961586"/>
              <a:gd name="connsiteX8" fmla="*/ 354751 w 3641834"/>
              <a:gd name="connsiteY8" fmla="*/ 0 h 796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1834" h="7961586">
                <a:moveTo>
                  <a:pt x="354751" y="0"/>
                </a:moveTo>
                <a:lnTo>
                  <a:pt x="3287083" y="0"/>
                </a:lnTo>
                <a:cubicBezTo>
                  <a:pt x="3483007" y="0"/>
                  <a:pt x="3641834" y="158827"/>
                  <a:pt x="3641834" y="354751"/>
                </a:cubicBezTo>
                <a:lnTo>
                  <a:pt x="3641834" y="7606835"/>
                </a:lnTo>
                <a:cubicBezTo>
                  <a:pt x="3641834" y="7802759"/>
                  <a:pt x="3483007" y="7961586"/>
                  <a:pt x="3287083" y="7961586"/>
                </a:cubicBezTo>
                <a:lnTo>
                  <a:pt x="354751" y="7961586"/>
                </a:lnTo>
                <a:cubicBezTo>
                  <a:pt x="158827" y="7961586"/>
                  <a:pt x="0" y="7802759"/>
                  <a:pt x="0" y="7606835"/>
                </a:cubicBezTo>
                <a:lnTo>
                  <a:pt x="0" y="354751"/>
                </a:lnTo>
                <a:cubicBezTo>
                  <a:pt x="0" y="158827"/>
                  <a:pt x="158827" y="0"/>
                  <a:pt x="3547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3025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-Title-Ho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grass, horse, cow, outdoor&#10;&#10;Description automatically generated">
            <a:extLst>
              <a:ext uri="{FF2B5EF4-FFF2-40B4-BE49-F238E27FC236}">
                <a16:creationId xmlns="" xmlns:a16="http://schemas.microsoft.com/office/drawing/2014/main" id="{6436F28A-25D0-E767-A2F1-615E4814CF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" y="0"/>
            <a:ext cx="20105511" cy="113093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72D476C0-A82C-C63B-BE29-7E4A5DE5E75D}"/>
              </a:ext>
            </a:extLst>
          </p:cNvPr>
          <p:cNvSpPr/>
          <p:nvPr userDrawn="1"/>
        </p:nvSpPr>
        <p:spPr>
          <a:xfrm>
            <a:off x="0" y="0"/>
            <a:ext cx="11043522" cy="11309350"/>
          </a:xfrm>
          <a:prstGeom prst="rect">
            <a:avLst/>
          </a:prstGeom>
          <a:gradFill>
            <a:gsLst>
              <a:gs pos="65000">
                <a:srgbClr val="181818">
                  <a:alpha val="57000"/>
                </a:srgbClr>
              </a:gs>
              <a:gs pos="52000">
                <a:srgbClr val="181818">
                  <a:alpha val="78000"/>
                </a:srgbClr>
              </a:gs>
              <a:gs pos="33000">
                <a:schemeClr val="bg1">
                  <a:lumMod val="10000"/>
                </a:schemeClr>
              </a:gs>
              <a:gs pos="100000">
                <a:schemeClr val="bg1">
                  <a:lumMod val="10000"/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1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6DA6618D-7E1A-F806-F567-4C80719C14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43927BC8-4D60-D77F-1476-602C1DC066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715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bject 22">
            <a:extLst>
              <a:ext uri="{FF2B5EF4-FFF2-40B4-BE49-F238E27FC236}">
                <a16:creationId xmlns="" xmlns:a16="http://schemas.microsoft.com/office/drawing/2014/main" id="{78A5858E-C769-A11B-5873-B66759919939}"/>
              </a:ext>
            </a:extLst>
          </p:cNvPr>
          <p:cNvSpPr/>
          <p:nvPr userDrawn="1"/>
        </p:nvSpPr>
        <p:spPr>
          <a:xfrm>
            <a:off x="6958881" y="2874948"/>
            <a:ext cx="45723" cy="6311416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3">
            <a:extLst>
              <a:ext uri="{FF2B5EF4-FFF2-40B4-BE49-F238E27FC236}">
                <a16:creationId xmlns="" xmlns:a16="http://schemas.microsoft.com/office/drawing/2014/main" id="{14DB5FE2-FD24-4FD0-CBC7-8AC84FAC3ADF}"/>
              </a:ext>
            </a:extLst>
          </p:cNvPr>
          <p:cNvSpPr/>
          <p:nvPr userDrawn="1"/>
        </p:nvSpPr>
        <p:spPr>
          <a:xfrm flipH="1">
            <a:off x="13024878" y="2874948"/>
            <a:ext cx="45723" cy="6311416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Text Placeholder 8">
            <a:extLst>
              <a:ext uri="{FF2B5EF4-FFF2-40B4-BE49-F238E27FC236}">
                <a16:creationId xmlns="" xmlns:a16="http://schemas.microsoft.com/office/drawing/2014/main" id="{7EC853B5-D6D3-896B-CD1E-1A23D41260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2468390"/>
            <a:ext cx="5483746" cy="1119537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="" xmlns:a16="http://schemas.microsoft.com/office/drawing/2014/main" id="{B49C53A0-50BD-D605-4106-75221D54DDE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71771" y="2466581"/>
            <a:ext cx="4926523" cy="1119537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000" b="1" i="0" spc="-140" dirty="0">
                <a:gradFill flip="none" rotWithShape="1">
                  <a:gsLst>
                    <a:gs pos="20000">
                      <a:srgbClr val="006AB4"/>
                    </a:gs>
                    <a:gs pos="60000">
                      <a:srgbClr val="5CA183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="" xmlns:a16="http://schemas.microsoft.com/office/drawing/2014/main" id="{D515D6F7-EE71-F39C-3C45-31C59B463B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15513" y="2466581"/>
            <a:ext cx="4926523" cy="1119537"/>
          </a:xfrm>
          <a:prstGeom prst="rect">
            <a:avLst/>
          </a:prstGeom>
        </p:spPr>
        <p:txBody>
          <a:bodyPr lIns="0"/>
          <a:lstStyle>
            <a:lvl1pPr>
              <a:lnSpc>
                <a:spcPts val="9401"/>
              </a:lnSpc>
              <a:defRPr lang="en-GB" sz="6000" b="1" i="0" spc="-140" dirty="0">
                <a:gradFill flip="none" rotWithShape="1">
                  <a:gsLst>
                    <a:gs pos="20000">
                      <a:srgbClr val="CE143D"/>
                    </a:gs>
                    <a:gs pos="70000">
                      <a:srgbClr val="CA87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="" xmlns:a16="http://schemas.microsoft.com/office/drawing/2014/main" id="{B53EC9E3-35BA-E11F-8A33-A04AB5DDBBC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4075" y="4149123"/>
            <a:ext cx="5483747" cy="362920"/>
          </a:xfr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buClr>
                <a:srgbClr val="007C43"/>
              </a:buClr>
              <a:buFont typeface="Wingdings" panose="05000000000000000000" pitchFamily="2" charset="2"/>
              <a:buChar char="§"/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="" xmlns:a16="http://schemas.microsoft.com/office/drawing/2014/main" id="{EDC1A9A2-7D54-3DC1-E7CB-F0BE59E1B3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574540" y="4149122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buClr>
                <a:srgbClr val="007C43"/>
              </a:buClr>
              <a:buFont typeface="Wingdings" panose="05000000000000000000" pitchFamily="2" charset="2"/>
              <a:buChar char="§"/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="" xmlns:a16="http://schemas.microsoft.com/office/drawing/2014/main" id="{1C9C0C6A-5187-4AA0-6FB2-FC3857D7D0C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3621869" y="4149121"/>
            <a:ext cx="4926523" cy="362920"/>
          </a:xfr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buClr>
                <a:srgbClr val="007C43"/>
              </a:buClr>
              <a:buFont typeface="Wingdings" panose="05000000000000000000" pitchFamily="2" charset="2"/>
              <a:buChar char="§"/>
              <a:defRPr lang="en-US" sz="2250" spc="-3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5FF3DF9A-B379-2EE3-DB1C-516E145A38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="" xmlns:a16="http://schemas.microsoft.com/office/drawing/2014/main" id="{9A352E9E-307B-AE9E-C6F7-B9256D3C53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4074" y="701675"/>
            <a:ext cx="152709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38373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6081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-Title-Horse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0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8751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6" y="6019923"/>
            <a:ext cx="7731736" cy="123495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GB" sz="8751" b="1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1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640127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7976914"/>
            <a:ext cx="7763488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19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7" lvl="0">
              <a:lnSpc>
                <a:spcPct val="100000"/>
              </a:lnSpc>
              <a:spcBef>
                <a:spcPts val="3495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38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 userDrawn="1">
          <p15:clr>
            <a:srgbClr val="FBAE40"/>
          </p15:clr>
        </p15:guide>
        <p15:guide id="2" pos="6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B55F7E7-83F3-96C5-71DA-C968CCA5F717}"/>
              </a:ext>
            </a:extLst>
          </p:cNvPr>
          <p:cNvSpPr/>
          <p:nvPr userDrawn="1"/>
        </p:nvSpPr>
        <p:spPr>
          <a:xfrm>
            <a:off x="1" y="0"/>
            <a:ext cx="20105687" cy="11309350"/>
          </a:xfrm>
          <a:prstGeom prst="rect">
            <a:avLst/>
          </a:prstGeom>
          <a:gradFill>
            <a:gsLst>
              <a:gs pos="77000">
                <a:srgbClr val="64AD1C"/>
              </a:gs>
              <a:gs pos="38000">
                <a:srgbClr val="00863B"/>
              </a:gs>
              <a:gs pos="96000">
                <a:srgbClr val="BCCF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66373" y="4848518"/>
            <a:ext cx="15040477" cy="3700177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1"/>
              </a:lnSpc>
              <a:defRPr/>
            </a:lvl2pPr>
            <a:lvl3pPr>
              <a:lnSpc>
                <a:spcPts val="8601"/>
              </a:lnSpc>
              <a:defRPr/>
            </a:lvl3pPr>
            <a:lvl4pPr>
              <a:lnSpc>
                <a:spcPts val="8601"/>
              </a:lnSpc>
              <a:defRPr/>
            </a:lvl4pPr>
            <a:lvl5pPr>
              <a:lnSpc>
                <a:spcPts val="8601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Holder 6">
            <a:extLst>
              <a:ext uri="{FF2B5EF4-FFF2-40B4-BE49-F238E27FC236}">
                <a16:creationId xmlns=""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4BA43FD-0FEC-C527-DD8A-599EDCAE5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7972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ide-header-copy-right-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white right half">
            <a:extLst>
              <a:ext uri="{FF2B5EF4-FFF2-40B4-BE49-F238E27FC236}">
                <a16:creationId xmlns="" xmlns:a16="http://schemas.microsoft.com/office/drawing/2014/main" id="{2EDE0E39-1796-D1CA-06EA-8AAED4C4052B}"/>
              </a:ext>
            </a:extLst>
          </p:cNvPr>
          <p:cNvSpPr/>
          <p:nvPr userDrawn="1"/>
        </p:nvSpPr>
        <p:spPr>
          <a:xfrm>
            <a:off x="10814845" y="2073275"/>
            <a:ext cx="8752602" cy="8534400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6" name="Text Placeholder 32">
            <a:extLst>
              <a:ext uri="{FF2B5EF4-FFF2-40B4-BE49-F238E27FC236}">
                <a16:creationId xmlns="" xmlns:a16="http://schemas.microsoft.com/office/drawing/2014/main" id="{E9461921-D957-2260-D8E9-098E8910E5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500644" y="4051871"/>
            <a:ext cx="7543800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50" b="1" spc="-1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="" xmlns:a16="http://schemas.microsoft.com/office/drawing/2014/main" id="{3AFEB682-ACBF-A446-48EE-E0A6A84FDD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4" y="777875"/>
            <a:ext cx="15575769" cy="6474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3850" b="1" spc="-75" smtClean="0">
                <a:solidFill>
                  <a:srgbClr val="38373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the title</a:t>
            </a:r>
            <a:endParaRPr lang="en-GB"/>
          </a:p>
        </p:txBody>
      </p:sp>
      <p:sp>
        <p:nvSpPr>
          <p:cNvPr id="13" name="Text Placeholder 18">
            <a:extLst>
              <a:ext uri="{FF2B5EF4-FFF2-40B4-BE49-F238E27FC236}">
                <a16:creationId xmlns="" xmlns:a16="http://schemas.microsoft.com/office/drawing/2014/main" id="{92EB73C3-946D-88BC-DD02-EAF7F95E91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4076" y="3216275"/>
            <a:ext cx="7323397" cy="43793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lang="en-US" sz="2750" b="1" spc="-45" dirty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9D236020-3019-7A32-2C0D-2CEFB1BCBB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1694" y="3682964"/>
            <a:ext cx="8154043" cy="3549946"/>
          </a:xfrm>
          <a:prstGeom prst="rect">
            <a:avLst/>
          </a:prstGeom>
        </p:spPr>
        <p:txBody>
          <a:bodyPr vert="horz" wrap="square" lIns="0" tIns="176530" rIns="0" bIns="0" rtlCol="0">
            <a:spAutoFit/>
          </a:bodyPr>
          <a:lstStyle>
            <a:lvl1pPr>
              <a:lnSpc>
                <a:spcPct val="90000"/>
              </a:lnSpc>
              <a:defRPr lang="en-US" sz="12001" b="1" spc="-320" dirty="0" smtClean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22227" lvl="0">
              <a:lnSpc>
                <a:spcPct val="91000"/>
              </a:lnSpc>
              <a:spcBef>
                <a:spcPts val="1390"/>
              </a:spcBef>
            </a:pPr>
            <a:r>
              <a:rPr lang="en-US"/>
              <a:t>Click to edi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="" xmlns:a16="http://schemas.microsoft.com/office/drawing/2014/main" id="{A351DFD5-E111-3340-84DF-64098B8621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7498134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12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863764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plit with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white right half">
            <a:extLst>
              <a:ext uri="{FF2B5EF4-FFF2-40B4-BE49-F238E27FC236}">
                <a16:creationId xmlns="" xmlns:a16="http://schemas.microsoft.com/office/drawing/2014/main" id="{747CFB75-7D71-23BC-3385-9E2DF23DDCC2}"/>
              </a:ext>
            </a:extLst>
          </p:cNvPr>
          <p:cNvSpPr/>
          <p:nvPr/>
        </p:nvSpPr>
        <p:spPr>
          <a:xfrm>
            <a:off x="0" y="1"/>
            <a:ext cx="10046493" cy="11308715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u="sng"/>
          </a:p>
        </p:txBody>
      </p:sp>
      <p:sp>
        <p:nvSpPr>
          <p:cNvPr id="19" name="Text Placeholder 18">
            <a:extLst>
              <a:ext uri="{FF2B5EF4-FFF2-40B4-BE49-F238E27FC236}">
                <a16:creationId xmlns=""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54076" y="3802914"/>
            <a:ext cx="7323397" cy="43793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lang="en-US" sz="2750" b="1" spc="-45" dirty="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="" xmlns:a16="http://schemas.microsoft.com/office/drawing/2014/main" id="{274A09E7-B261-8A83-EE16-C8459F0B98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54075" y="1006475"/>
            <a:ext cx="8154042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=""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11723601" y="4455833"/>
            <a:ext cx="7398334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5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="" xmlns:a16="http://schemas.microsoft.com/office/drawing/2014/main" id="{2413022C-43B5-775E-6AC9-C3B703A18CC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966467" y="4461845"/>
            <a:ext cx="491812" cy="5070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692BC57-34A0-682F-1C16-82DCB96721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1916" y="4564913"/>
            <a:ext cx="8154044" cy="5334000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ct val="90000"/>
              </a:lnSpc>
              <a:defRPr lang="en-GB" sz="12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20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624F107-1EEE-7505-9EA7-ECBB6EB65E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7770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py R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="" xmlns:a16="http://schemas.microsoft.com/office/drawing/2014/main" id="{A4E8A7A8-8B7D-544E-18FC-56C747300B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0244" y="748272"/>
            <a:ext cx="15087600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Click to edit the title</a:t>
            </a:r>
          </a:p>
        </p:txBody>
      </p:sp>
      <p:sp>
        <p:nvSpPr>
          <p:cNvPr id="6" name="Text Placeholder 32">
            <a:extLst>
              <a:ext uri="{FF2B5EF4-FFF2-40B4-BE49-F238E27FC236}">
                <a16:creationId xmlns="" xmlns:a16="http://schemas.microsoft.com/office/drawing/2014/main" id="{E9461921-D957-2260-D8E9-098E8910E5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182784" y="4051871"/>
            <a:ext cx="9090260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50" b="1" spc="-1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34">
            <a:extLst>
              <a:ext uri="{FF2B5EF4-FFF2-40B4-BE49-F238E27FC236}">
                <a16:creationId xmlns="" xmlns:a16="http://schemas.microsoft.com/office/drawing/2014/main" id="{98D8FF50-CA3F-2B2B-432D-5CA480732C3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75296" y="2879520"/>
            <a:ext cx="639548" cy="7939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83738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8">
            <a:extLst>
              <a:ext uri="{FF2B5EF4-FFF2-40B4-BE49-F238E27FC236}">
                <a16:creationId xmlns="" xmlns:a16="http://schemas.microsoft.com/office/drawing/2014/main" id="{89871C10-5A46-3FBF-BA30-0C7BB4E530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75296" y="5098314"/>
            <a:ext cx="9097748" cy="3731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="" xmlns:a16="http://schemas.microsoft.com/office/drawing/2014/main" id="{87AC095F-0132-E289-1E69-3C516C56DC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1038" y="2119769"/>
            <a:ext cx="8751887" cy="8488363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41565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Title and Sub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="" xmlns:a16="http://schemas.microsoft.com/office/drawing/2014/main" id="{9259A052-57C7-B158-8963-F2E22B3B2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="" xmlns:a16="http://schemas.microsoft.com/office/drawing/2014/main" id="{A4E8A7A8-8B7D-544E-18FC-56C747300B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0244" y="748273"/>
            <a:ext cx="16388556" cy="815504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54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Click to edit the title</a:t>
            </a:r>
          </a:p>
        </p:txBody>
      </p:sp>
      <p:sp>
        <p:nvSpPr>
          <p:cNvPr id="6" name="Text Placeholder 32">
            <a:extLst>
              <a:ext uri="{FF2B5EF4-FFF2-40B4-BE49-F238E27FC236}">
                <a16:creationId xmlns="" xmlns:a16="http://schemas.microsoft.com/office/drawing/2014/main" id="{E9461921-D957-2260-D8E9-098E8910E5D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0244" y="1615148"/>
            <a:ext cx="9090260" cy="486672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lnSpc>
                <a:spcPct val="90000"/>
              </a:lnSpc>
              <a:defRPr lang="en-US" sz="3050" b="0" spc="-10" smtClean="0">
                <a:solidFill>
                  <a:srgbClr val="28282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0743911-A515-EC1C-FA6A-CF87390B453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1038" y="2838450"/>
            <a:ext cx="8901112" cy="7029450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342D5FB-E463-BC72-DDAD-99B090B48D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229850" y="2838450"/>
            <a:ext cx="9194800" cy="7029450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0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1282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2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F28BFFC4-DD30-8312-B898-E5F2BC15B139}"/>
              </a:ext>
            </a:extLst>
          </p:cNvPr>
          <p:cNvSpPr/>
          <p:nvPr userDrawn="1"/>
        </p:nvSpPr>
        <p:spPr>
          <a:xfrm>
            <a:off x="4059276" y="2693067"/>
            <a:ext cx="11987136" cy="1293734"/>
          </a:xfrm>
          <a:prstGeom prst="rect">
            <a:avLst/>
          </a:prstGeom>
          <a:gradFill>
            <a:gsLst>
              <a:gs pos="0">
                <a:srgbClr val="00863B"/>
              </a:gs>
              <a:gs pos="50000">
                <a:srgbClr val="50A522"/>
              </a:gs>
              <a:gs pos="100000">
                <a:srgbClr val="BCCF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7E320977-24CE-5FD2-305C-9CD256BA5702}"/>
              </a:ext>
            </a:extLst>
          </p:cNvPr>
          <p:cNvSpPr/>
          <p:nvPr userDrawn="1"/>
        </p:nvSpPr>
        <p:spPr>
          <a:xfrm>
            <a:off x="4059277" y="4240510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4B5A82AF-47A9-D81A-C745-27725A88F363}"/>
              </a:ext>
            </a:extLst>
          </p:cNvPr>
          <p:cNvSpPr/>
          <p:nvPr userDrawn="1"/>
        </p:nvSpPr>
        <p:spPr>
          <a:xfrm>
            <a:off x="4059277" y="5787953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52D11DAB-8414-91D9-76E4-E5124176DB85}"/>
              </a:ext>
            </a:extLst>
          </p:cNvPr>
          <p:cNvSpPr/>
          <p:nvPr userDrawn="1"/>
        </p:nvSpPr>
        <p:spPr>
          <a:xfrm>
            <a:off x="4059277" y="7335396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7447BDA6-EB2C-43B2-6332-3591E97A32C7}"/>
              </a:ext>
            </a:extLst>
          </p:cNvPr>
          <p:cNvSpPr/>
          <p:nvPr userDrawn="1"/>
        </p:nvSpPr>
        <p:spPr>
          <a:xfrm>
            <a:off x="4059277" y="8882837"/>
            <a:ext cx="11987135" cy="1293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18">
            <a:extLst>
              <a:ext uri="{FF2B5EF4-FFF2-40B4-BE49-F238E27FC236}">
                <a16:creationId xmlns="" xmlns:a16="http://schemas.microsoft.com/office/drawing/2014/main" id="{A2BAEE72-05B9-E879-F87D-A399CE8576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81" y="308029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="" xmlns:a16="http://schemas.microsoft.com/office/drawing/2014/main" id="{2D60CA80-EFBC-5A72-85F9-2C7201CEEF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80" y="463720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="" xmlns:a16="http://schemas.microsoft.com/office/drawing/2014/main" id="{8873B7D0-718E-B6EF-F0D6-C2569ECB7D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9" y="6187971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="" xmlns:a16="http://schemas.microsoft.com/office/drawing/2014/main" id="{A84F633F-F74F-966C-FA92-AEFE4C6FD8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5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="" xmlns:a16="http://schemas.microsoft.com/office/drawing/2014/main" id="{3752BC2F-71BB-4EF8-6834-6E3F984B05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0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E57EA86A-0662-530E-7C02-4FD743A927C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200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7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1B047A20-14A6-003A-F1B2-6BE846F1AE37}"/>
              </a:ext>
            </a:extLst>
          </p:cNvPr>
          <p:cNvSpPr/>
          <p:nvPr userDrawn="1"/>
        </p:nvSpPr>
        <p:spPr>
          <a:xfrm>
            <a:off x="954074" y="2293018"/>
            <a:ext cx="9098767" cy="1293734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6" y="2293016"/>
            <a:ext cx="9098767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2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0">
                      <a:srgbClr val="007C43"/>
                    </a:gs>
                    <a:gs pos="7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9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F344063-6D16-0A8C-8B0D-6BF39018A477}"/>
              </a:ext>
            </a:extLst>
          </p:cNvPr>
          <p:cNvSpPr/>
          <p:nvPr userDrawn="1"/>
        </p:nvSpPr>
        <p:spPr>
          <a:xfrm>
            <a:off x="954074" y="2293017"/>
            <a:ext cx="9117338" cy="1293734"/>
          </a:xfrm>
          <a:prstGeom prst="rect">
            <a:avLst/>
          </a:prstGeom>
          <a:gradFill>
            <a:gsLst>
              <a:gs pos="0">
                <a:srgbClr val="9B1C79"/>
              </a:gs>
              <a:gs pos="60000">
                <a:srgbClr val="329D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7"/>
            <a:ext cx="9097200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662654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20000">
                      <a:srgbClr val="9B1C79"/>
                    </a:gs>
                    <a:gs pos="70000">
                      <a:srgbClr val="329DD2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78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D4B9A7DB-3722-496C-A8E1-91F1B4CC8341}"/>
              </a:ext>
            </a:extLst>
          </p:cNvPr>
          <p:cNvSpPr/>
          <p:nvPr userDrawn="1"/>
        </p:nvSpPr>
        <p:spPr>
          <a:xfrm>
            <a:off x="954074" y="2297893"/>
            <a:ext cx="9098770" cy="1288858"/>
          </a:xfrm>
          <a:prstGeom prst="rect">
            <a:avLst/>
          </a:prstGeom>
          <a:gradFill>
            <a:gsLst>
              <a:gs pos="0">
                <a:srgbClr val="CE143D"/>
              </a:gs>
              <a:gs pos="70000">
                <a:srgbClr val="CA87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7"/>
            <a:ext cx="9097200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678152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20000">
                      <a:srgbClr val="CE143D"/>
                    </a:gs>
                    <a:gs pos="70000">
                      <a:srgbClr val="CA87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226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&amp; Stat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6651F529-7416-1AE3-1F40-FAA44C590A08}"/>
              </a:ext>
            </a:extLst>
          </p:cNvPr>
          <p:cNvSpPr>
            <a:spLocks/>
          </p:cNvSpPr>
          <p:nvPr userDrawn="1"/>
        </p:nvSpPr>
        <p:spPr>
          <a:xfrm>
            <a:off x="9971522" y="-1956"/>
            <a:ext cx="5089030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71521" y="5655600"/>
            <a:ext cx="5081099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Rectangle 82">
            <a:extLst>
              <a:ext uri="{FF2B5EF4-FFF2-40B4-BE49-F238E27FC236}">
                <a16:creationId xmlns="" xmlns:a16="http://schemas.microsoft.com/office/drawing/2014/main" id="{D9048893-A584-8A6F-BA4C-542BBBF71BBD}"/>
              </a:ext>
            </a:extLst>
          </p:cNvPr>
          <p:cNvSpPr>
            <a:spLocks/>
          </p:cNvSpPr>
          <p:nvPr userDrawn="1"/>
        </p:nvSpPr>
        <p:spPr>
          <a:xfrm>
            <a:off x="15060553" y="0"/>
            <a:ext cx="5069200" cy="565137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Rectangle 84">
            <a:extLst>
              <a:ext uri="{FF2B5EF4-FFF2-40B4-BE49-F238E27FC236}">
                <a16:creationId xmlns="" xmlns:a16="http://schemas.microsoft.com/office/drawing/2014/main" id="{9504DE1F-1D4E-FF5D-2F39-422CD94F5478}"/>
              </a:ext>
            </a:extLst>
          </p:cNvPr>
          <p:cNvSpPr>
            <a:spLocks/>
          </p:cNvSpPr>
          <p:nvPr userDrawn="1"/>
        </p:nvSpPr>
        <p:spPr>
          <a:xfrm>
            <a:off x="15055011" y="5651370"/>
            <a:ext cx="5081099" cy="565797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924600" y="3833307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927189" y="4605992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494122D9-7451-E215-171A-223354FB8034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10924600" y="2918418"/>
            <a:ext cx="720057" cy="765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9FC7B3D4-E118-4D7E-C97C-6478A9F02158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5981901" y="4001532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BEB860A5-AA01-EEC6-96BB-BADFAD8DDB5B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5981901" y="4706382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="" xmlns:a16="http://schemas.microsoft.com/office/drawing/2014/main" id="{AB37E6D9-CA8E-C64F-31CE-C25FDB5413A7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15981901" y="3161785"/>
            <a:ext cx="720057" cy="6982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924600" y="6882647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924600" y="7588250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Picture Placeholder 19">
            <a:extLst>
              <a:ext uri="{FF2B5EF4-FFF2-40B4-BE49-F238E27FC236}">
                <a16:creationId xmlns="" xmlns:a16="http://schemas.microsoft.com/office/drawing/2014/main" id="{0F692681-C2DF-6B21-31F4-3FB82B63441C}"/>
              </a:ext>
            </a:extLst>
          </p:cNvPr>
          <p:cNvSpPr>
            <a:spLocks noGrp="1"/>
          </p:cNvSpPr>
          <p:nvPr userDrawn="1">
            <p:ph type="pic" sz="quarter" idx="21"/>
          </p:nvPr>
        </p:nvSpPr>
        <p:spPr>
          <a:xfrm>
            <a:off x="10924600" y="5975945"/>
            <a:ext cx="720057" cy="76522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</a:lstStyle>
          <a:p>
            <a:endParaRPr lang="en-GB"/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924600" y="9516218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924600" y="10301909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9" name="Picture Placeholder 26">
            <a:extLst>
              <a:ext uri="{FF2B5EF4-FFF2-40B4-BE49-F238E27FC236}">
                <a16:creationId xmlns="" xmlns:a16="http://schemas.microsoft.com/office/drawing/2014/main" id="{BFCE9C42-E8C8-39AB-B158-D2A2DB01BD50}"/>
              </a:ext>
            </a:extLst>
          </p:cNvPr>
          <p:cNvSpPr>
            <a:spLocks noGrp="1"/>
          </p:cNvSpPr>
          <p:nvPr userDrawn="1">
            <p:ph type="pic" sz="quarter" idx="24"/>
          </p:nvPr>
        </p:nvSpPr>
        <p:spPr>
          <a:xfrm>
            <a:off x="10924600" y="8623253"/>
            <a:ext cx="720057" cy="765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981901" y="6882647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981901" y="7588250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Picture Placeholder 19">
            <a:extLst>
              <a:ext uri="{FF2B5EF4-FFF2-40B4-BE49-F238E27FC236}">
                <a16:creationId xmlns="" xmlns:a16="http://schemas.microsoft.com/office/drawing/2014/main" id="{5ABBB09A-9DA2-238C-DD87-4EADDB108F27}"/>
              </a:ext>
            </a:extLst>
          </p:cNvPr>
          <p:cNvSpPr>
            <a:spLocks noGrp="1"/>
          </p:cNvSpPr>
          <p:nvPr userDrawn="1">
            <p:ph type="pic" sz="quarter" idx="27"/>
          </p:nvPr>
        </p:nvSpPr>
        <p:spPr>
          <a:xfrm>
            <a:off x="15981901" y="5975945"/>
            <a:ext cx="720057" cy="76522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</a:lstStyle>
          <a:p>
            <a:endParaRPr lang="en-GB"/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981901" y="9516218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981901" y="10301909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2" name="Picture Placeholder 26">
            <a:extLst>
              <a:ext uri="{FF2B5EF4-FFF2-40B4-BE49-F238E27FC236}">
                <a16:creationId xmlns="" xmlns:a16="http://schemas.microsoft.com/office/drawing/2014/main" id="{E494CCC4-C2B7-5C8B-D924-1028544AAB30}"/>
              </a:ext>
            </a:extLst>
          </p:cNvPr>
          <p:cNvSpPr>
            <a:spLocks noGrp="1"/>
          </p:cNvSpPr>
          <p:nvPr userDrawn="1">
            <p:ph type="pic" sz="quarter" idx="30"/>
          </p:nvPr>
        </p:nvSpPr>
        <p:spPr>
          <a:xfrm>
            <a:off x="15981901" y="8611922"/>
            <a:ext cx="720057" cy="765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7" name="Holder 6">
            <a:extLst>
              <a:ext uri="{FF2B5EF4-FFF2-40B4-BE49-F238E27FC236}">
                <a16:creationId xmlns="" xmlns:a16="http://schemas.microsoft.com/office/drawing/2014/main" id="{01039170-DEF5-46E8-1349-14A11A204251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77005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4A01DA05-9CF9-40BB-A88D-225E76F84A36}"/>
              </a:ext>
            </a:extLst>
          </p:cNvPr>
          <p:cNvSpPr/>
          <p:nvPr userDrawn="1"/>
        </p:nvSpPr>
        <p:spPr>
          <a:xfrm>
            <a:off x="954074" y="2293017"/>
            <a:ext cx="9099564" cy="1293734"/>
          </a:xfrm>
          <a:prstGeom prst="rect">
            <a:avLst/>
          </a:prstGeom>
          <a:gradFill>
            <a:gsLst>
              <a:gs pos="0">
                <a:srgbClr val="0074C8"/>
              </a:gs>
              <a:gs pos="70000">
                <a:srgbClr val="6CBE99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7"/>
            <a:ext cx="0" cy="8013033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7"/>
            <a:ext cx="9097200" cy="1293734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26" y="2623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26" y="2623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=""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662654"/>
            <a:ext cx="16370543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6000" b="1" i="0" spc="-140" dirty="0">
                <a:gradFill flip="none" rotWithShape="1">
                  <a:gsLst>
                    <a:gs pos="20000">
                      <a:srgbClr val="00838A"/>
                    </a:gs>
                    <a:gs pos="80000">
                      <a:srgbClr val="68A445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Insert title her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=""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35679" y="2680243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=""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82097" y="2683272"/>
            <a:ext cx="6413839" cy="4306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3600" b="1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marR="542344" lvl="0">
              <a:lnSpc>
                <a:spcPts val="3020"/>
              </a:lnSpc>
              <a:spcBef>
                <a:spcPts val="4145"/>
              </a:spcBef>
            </a:pPr>
            <a:r>
              <a:rPr lang="en-US"/>
              <a:t>Click to edi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2" y="2596602"/>
            <a:ext cx="686563" cy="686563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600" b="1" i="0" u="none" strike="noStrike" kern="0" cap="none" spc="-14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01738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619751" y="3848100"/>
            <a:ext cx="8113712" cy="61722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46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391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37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883" indent="-342900" algn="l">
              <a:lnSpc>
                <a:spcPct val="150000"/>
              </a:lnSpc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636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Only White BG">
  <p:cSld name="2_Text Only White BG">
    <p:bg>
      <p:bgPr>
        <a:solidFill>
          <a:srgbClr val="FFFFFF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1"/>
          <p:cNvSpPr txBox="1">
            <a:spLocks noGrp="1"/>
          </p:cNvSpPr>
          <p:nvPr>
            <p:ph type="body" idx="1"/>
          </p:nvPr>
        </p:nvSpPr>
        <p:spPr>
          <a:xfrm>
            <a:off x="954075" y="636192"/>
            <a:ext cx="13594924" cy="24237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0" b="1" i="0" u="none" strike="noStrike" cap="none">
                <a:solidFill>
                  <a:srgbClr val="007C43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21"/>
          <p:cNvSpPr txBox="1">
            <a:spLocks noGrp="1"/>
          </p:cNvSpPr>
          <p:nvPr>
            <p:ph type="body" idx="2"/>
          </p:nvPr>
        </p:nvSpPr>
        <p:spPr>
          <a:xfrm>
            <a:off x="984328" y="3533664"/>
            <a:ext cx="13564671" cy="571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" name="Google Shape;25;p21"/>
          <p:cNvSpPr txBox="1">
            <a:spLocks noGrp="1"/>
          </p:cNvSpPr>
          <p:nvPr>
            <p:ph type="sldNum" idx="12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lvl="2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lvl="3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lvl="4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lvl="5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lvl="6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lvl="7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lvl="8" indent="0" algn="r">
              <a:spcBef>
                <a:spcPts val="0"/>
              </a:spcBef>
              <a:buNone/>
              <a:defRPr sz="1400">
                <a:solidFill>
                  <a:srgbClr val="383738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26" name="Google Shape;26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7438477" y="530398"/>
            <a:ext cx="2140119" cy="10847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6678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53A5F93-CC09-8C50-0D99-0412FAAB687B}"/>
              </a:ext>
            </a:extLst>
          </p:cNvPr>
          <p:cNvSpPr/>
          <p:nvPr userDrawn="1"/>
        </p:nvSpPr>
        <p:spPr>
          <a:xfrm>
            <a:off x="15036488" y="5646310"/>
            <a:ext cx="5064966" cy="5671408"/>
          </a:xfrm>
          <a:prstGeom prst="rect">
            <a:avLst/>
          </a:prstGeom>
          <a:gradFill>
            <a:gsLst>
              <a:gs pos="10000">
                <a:srgbClr val="9B1C79"/>
              </a:gs>
              <a:gs pos="90000">
                <a:srgbClr val="329D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1481642-044F-7B2C-9252-091AB0AF4348}"/>
              </a:ext>
            </a:extLst>
          </p:cNvPr>
          <p:cNvSpPr/>
          <p:nvPr userDrawn="1"/>
        </p:nvSpPr>
        <p:spPr>
          <a:xfrm>
            <a:off x="9971522" y="-1"/>
            <a:ext cx="5064966" cy="5654675"/>
          </a:xfrm>
          <a:prstGeom prst="rect">
            <a:avLst/>
          </a:prstGeom>
          <a:gradFill>
            <a:gsLst>
              <a:gs pos="10000">
                <a:srgbClr val="9B1C79"/>
              </a:gs>
              <a:gs pos="90000">
                <a:srgbClr val="329D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D4D82FBA-FDD1-1803-79C6-5FC47722D179}"/>
              </a:ext>
            </a:extLst>
          </p:cNvPr>
          <p:cNvSpPr>
            <a:spLocks/>
          </p:cNvSpPr>
          <p:nvPr userDrawn="1"/>
        </p:nvSpPr>
        <p:spPr>
          <a:xfrm>
            <a:off x="15036488" y="-9291"/>
            <a:ext cx="5176749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0" y="0"/>
            <a:ext cx="9971522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71522" y="5655600"/>
            <a:ext cx="5069200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4452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17137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38898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457871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CC229758-A3C2-E37E-3CE6-6EA9018F82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014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91674091-F552-1AAB-8657-399A28A999C8}"/>
              </a:ext>
            </a:extLst>
          </p:cNvPr>
          <p:cNvSpPr/>
          <p:nvPr userDrawn="1"/>
        </p:nvSpPr>
        <p:spPr>
          <a:xfrm>
            <a:off x="15060552" y="5661810"/>
            <a:ext cx="5094712" cy="5655599"/>
          </a:xfrm>
          <a:prstGeom prst="rect">
            <a:avLst/>
          </a:prstGeom>
          <a:gradFill>
            <a:gsLst>
              <a:gs pos="0">
                <a:srgbClr val="CE143D"/>
              </a:gs>
              <a:gs pos="80000">
                <a:srgbClr val="CA87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6797C4F2-56C8-364B-B2D7-A72FF2285315}"/>
              </a:ext>
            </a:extLst>
          </p:cNvPr>
          <p:cNvSpPr/>
          <p:nvPr userDrawn="1"/>
        </p:nvSpPr>
        <p:spPr>
          <a:xfrm>
            <a:off x="9971522" y="5285"/>
            <a:ext cx="5094712" cy="5655599"/>
          </a:xfrm>
          <a:prstGeom prst="rect">
            <a:avLst/>
          </a:prstGeom>
          <a:gradFill>
            <a:gsLst>
              <a:gs pos="0">
                <a:srgbClr val="CE143D"/>
              </a:gs>
              <a:gs pos="80000">
                <a:srgbClr val="CA87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CE349984-6875-54AB-AE0D-06792D94AFFF}"/>
              </a:ext>
            </a:extLst>
          </p:cNvPr>
          <p:cNvSpPr>
            <a:spLocks/>
          </p:cNvSpPr>
          <p:nvPr userDrawn="1"/>
        </p:nvSpPr>
        <p:spPr>
          <a:xfrm>
            <a:off x="15046405" y="6211"/>
            <a:ext cx="5069200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71522" y="5655600"/>
            <a:ext cx="5069200" cy="56556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73729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46414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53024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471997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9" name="Holder 6">
            <a:extLst>
              <a:ext uri="{FF2B5EF4-FFF2-40B4-BE49-F238E27FC236}">
                <a16:creationId xmlns="" xmlns:a16="http://schemas.microsoft.com/office/drawing/2014/main" id="{48BE12D9-B5C9-859A-192A-AF0BB3DC37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85110E32-C032-6927-AD4F-00540A4AFA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221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AD1874EA-D8FF-AAD8-67A8-6D5E36FEEB7C}"/>
              </a:ext>
            </a:extLst>
          </p:cNvPr>
          <p:cNvSpPr/>
          <p:nvPr userDrawn="1"/>
        </p:nvSpPr>
        <p:spPr>
          <a:xfrm>
            <a:off x="15048769" y="5663167"/>
            <a:ext cx="5056920" cy="5655601"/>
          </a:xfrm>
          <a:prstGeom prst="rect">
            <a:avLst/>
          </a:prstGeom>
          <a:gradFill>
            <a:gsLst>
              <a:gs pos="0">
                <a:srgbClr val="006AB4"/>
              </a:gs>
              <a:gs pos="70000">
                <a:srgbClr val="5CA18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E61C4EE-0CE3-FB0B-D38A-E3AE6223A519}"/>
              </a:ext>
            </a:extLst>
          </p:cNvPr>
          <p:cNvSpPr/>
          <p:nvPr userDrawn="1"/>
        </p:nvSpPr>
        <p:spPr>
          <a:xfrm>
            <a:off x="9981048" y="-24828"/>
            <a:ext cx="5078674" cy="5695332"/>
          </a:xfrm>
          <a:prstGeom prst="rect">
            <a:avLst/>
          </a:prstGeom>
          <a:gradFill>
            <a:gsLst>
              <a:gs pos="0">
                <a:srgbClr val="006AB4"/>
              </a:gs>
              <a:gs pos="70000">
                <a:srgbClr val="5CA18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59721" y="-24828"/>
            <a:ext cx="5056921" cy="5695332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5663169"/>
            <a:ext cx="5069200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3741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16426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79139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498112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7" name="Holder 6">
            <a:extLst>
              <a:ext uri="{FF2B5EF4-FFF2-40B4-BE49-F238E27FC236}">
                <a16:creationId xmlns="" xmlns:a16="http://schemas.microsoft.com/office/drawing/2014/main" id="{18AC877B-151C-EEB4-AEC3-33BFC8971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C66FC4E4-1644-9ACB-0ED2-11B2D694E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74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BCBFA7CA-FFD5-D729-740D-294C8D048A57}"/>
              </a:ext>
            </a:extLst>
          </p:cNvPr>
          <p:cNvSpPr/>
          <p:nvPr userDrawn="1"/>
        </p:nvSpPr>
        <p:spPr>
          <a:xfrm>
            <a:off x="9981047" y="0"/>
            <a:ext cx="5067115" cy="5669748"/>
          </a:xfrm>
          <a:prstGeom prst="rect">
            <a:avLst/>
          </a:prstGeom>
          <a:gradFill>
            <a:gsLst>
              <a:gs pos="0">
                <a:srgbClr val="00838A"/>
              </a:gs>
              <a:gs pos="80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48162" y="14148"/>
            <a:ext cx="5069200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1413FC6-2278-AF1E-CEC5-5E3D81A12827}"/>
              </a:ext>
            </a:extLst>
          </p:cNvPr>
          <p:cNvSpPr/>
          <p:nvPr userDrawn="1"/>
        </p:nvSpPr>
        <p:spPr>
          <a:xfrm>
            <a:off x="1" y="0"/>
            <a:ext cx="9951691" cy="11309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7" y="5662472"/>
            <a:ext cx="5082039" cy="56556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rgbClr val="383738"/>
                </a:solidFill>
              </a:rPr>
              <a:t>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9675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22360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85073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504046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6668B5CD-3B9C-03A3-D846-97940E149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5AAEC133-CCDE-5259-404F-3B441A61252D}"/>
              </a:ext>
            </a:extLst>
          </p:cNvPr>
          <p:cNvSpPr/>
          <p:nvPr userDrawn="1"/>
        </p:nvSpPr>
        <p:spPr>
          <a:xfrm>
            <a:off x="15063086" y="5671194"/>
            <a:ext cx="5067115" cy="5638156"/>
          </a:xfrm>
          <a:prstGeom prst="rect">
            <a:avLst/>
          </a:prstGeom>
          <a:gradFill>
            <a:gsLst>
              <a:gs pos="0">
                <a:srgbClr val="00838A"/>
              </a:gs>
              <a:gs pos="80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613E6556-6D0E-D183-585E-EAF77E4253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435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 No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D7BC5A5-CADA-9932-1DF7-62B59A0BEF6C}"/>
              </a:ext>
            </a:extLst>
          </p:cNvPr>
          <p:cNvSpPr/>
          <p:nvPr userDrawn="1"/>
        </p:nvSpPr>
        <p:spPr>
          <a:xfrm>
            <a:off x="15038204" y="5681225"/>
            <a:ext cx="5069287" cy="5648267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2AF0342-3A3A-CBBC-8208-36E5DE312E0F}"/>
              </a:ext>
            </a:extLst>
          </p:cNvPr>
          <p:cNvSpPr/>
          <p:nvPr userDrawn="1"/>
        </p:nvSpPr>
        <p:spPr>
          <a:xfrm>
            <a:off x="9968917" y="-1"/>
            <a:ext cx="5069287" cy="5664199"/>
          </a:xfrm>
          <a:prstGeom prst="rect">
            <a:avLst/>
          </a:prstGeom>
          <a:gradFill>
            <a:gsLst>
              <a:gs pos="9000">
                <a:srgbClr val="007C43"/>
              </a:gs>
              <a:gs pos="82000">
                <a:srgbClr val="68A44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9A8F303-18D9-31FB-24A1-904A12EB9EC0}"/>
              </a:ext>
            </a:extLst>
          </p:cNvPr>
          <p:cNvSpPr>
            <a:spLocks/>
          </p:cNvSpPr>
          <p:nvPr userDrawn="1"/>
        </p:nvSpPr>
        <p:spPr>
          <a:xfrm>
            <a:off x="-2374" y="-17028"/>
            <a:ext cx="9981047" cy="11336827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E97897-8A77-98EC-0F4B-92C99C5B51AD}"/>
              </a:ext>
            </a:extLst>
          </p:cNvPr>
          <p:cNvSpPr>
            <a:spLocks/>
          </p:cNvSpPr>
          <p:nvPr userDrawn="1"/>
        </p:nvSpPr>
        <p:spPr>
          <a:xfrm>
            <a:off x="15052146" y="-1092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290569D-3C25-A10B-A34C-9288E7CB5DC3}"/>
              </a:ext>
            </a:extLst>
          </p:cNvPr>
          <p:cNvSpPr>
            <a:spLocks/>
          </p:cNvSpPr>
          <p:nvPr userDrawn="1"/>
        </p:nvSpPr>
        <p:spPr>
          <a:xfrm>
            <a:off x="9981048" y="5664200"/>
            <a:ext cx="5069200" cy="56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83738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4583F392-583E-F1A1-3797-59A78D1C8285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738698" y="3749675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570B301-F80B-49FC-CDAC-81938F887558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741287" y="4522360"/>
            <a:ext cx="3276859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="" xmlns:a16="http://schemas.microsoft.com/office/drawing/2014/main" id="{15CF5611-51B3-3BD4-14F4-97483B3135DE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5796000" y="3785073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343320F5-0573-F3EC-EBAF-AFEE787AB63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5795999" y="4504046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="" xmlns:a16="http://schemas.microsoft.com/office/drawing/2014/main" id="{DCBEC391-7662-145E-4BDF-361B757DCDB7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10738698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="" xmlns:a16="http://schemas.microsoft.com/office/drawing/2014/main" id="{3F786706-F3B0-5932-31FA-C04E6C54EE0C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10738698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="" xmlns:a16="http://schemas.microsoft.com/office/drawing/2014/main" id="{822EDA33-5E63-7DC1-D138-5E9AD1F1814C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10738698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383738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6" name="Text Placeholder 24">
            <a:extLst>
              <a:ext uri="{FF2B5EF4-FFF2-40B4-BE49-F238E27FC236}">
                <a16:creationId xmlns="" xmlns:a16="http://schemas.microsoft.com/office/drawing/2014/main" id="{D397347B-D6A4-C869-3D11-9AEBE8FA9FB9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10738698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="" xmlns:a16="http://schemas.microsoft.com/office/drawing/2014/main" id="{87DB115E-32C4-1779-9322-1BBB32B0969B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15796000" y="6569075"/>
            <a:ext cx="3695992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GB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3" name="Text Placeholder 17">
            <a:extLst>
              <a:ext uri="{FF2B5EF4-FFF2-40B4-BE49-F238E27FC236}">
                <a16:creationId xmlns="" xmlns:a16="http://schemas.microsoft.com/office/drawing/2014/main" id="{DEDFB6BD-ABDD-8565-05D6-8E8B3D320BAE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15795999" y="7274678"/>
            <a:ext cx="3099045" cy="223138"/>
          </a:xfrm>
          <a:prstGeom prst="rect">
            <a:avLst/>
          </a:prstGeom>
        </p:spPr>
        <p:txBody>
          <a:bodyPr/>
          <a:lstStyle>
            <a:lvl1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lang="en-US" sz="1450" b="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lang="en-GB" sz="1450" b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="" xmlns:a16="http://schemas.microsoft.com/office/drawing/2014/main" id="{49371B24-B582-1878-DF1E-1D3DB10477CB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15796000" y="9202646"/>
            <a:ext cx="3810301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lang="en-US" sz="4450" b="1" spc="-80" dirty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lvl="0">
              <a:spcBef>
                <a:spcPts val="105"/>
              </a:spcBef>
            </a:pPr>
            <a:r>
              <a:rPr lang="en-US"/>
              <a:t>Click to edit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="" xmlns:a16="http://schemas.microsoft.com/office/drawing/2014/main" id="{18E33CEB-DD7A-33EC-9C9E-B4DC753CF9E7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15796000" y="9988337"/>
            <a:ext cx="3810301" cy="223138"/>
          </a:xfrm>
          <a:prstGeom prst="rect">
            <a:avLst/>
          </a:prstGeom>
        </p:spPr>
        <p:txBody>
          <a:bodyPr/>
          <a:lstStyle>
            <a:lvl1pPr>
              <a:defRPr lang="en-GB" sz="1450" b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able Placeholder 28">
            <a:extLst>
              <a:ext uri="{FF2B5EF4-FFF2-40B4-BE49-F238E27FC236}">
                <a16:creationId xmlns="" xmlns:a16="http://schemas.microsoft.com/office/drawing/2014/main" id="{750DA30A-C0B4-F05B-086C-5C405C522C27}"/>
              </a:ext>
            </a:extLst>
          </p:cNvPr>
          <p:cNvSpPr>
            <a:spLocks noGrp="1"/>
          </p:cNvSpPr>
          <p:nvPr userDrawn="1">
            <p:ph type="tbl" sz="quarter" idx="32"/>
          </p:nvPr>
        </p:nvSpPr>
        <p:spPr>
          <a:xfrm>
            <a:off x="954076" y="3101345"/>
            <a:ext cx="8425528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32" name="Text Placeholder 30">
            <a:extLst>
              <a:ext uri="{FF2B5EF4-FFF2-40B4-BE49-F238E27FC236}">
                <a16:creationId xmlns="" xmlns:a16="http://schemas.microsoft.com/office/drawing/2014/main" id="{A4158909-BB22-8F86-E9E8-E6448F26341E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54075" y="1082675"/>
            <a:ext cx="8420235" cy="130317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3850" b="1" spc="-75" smtClean="0">
                <a:solidFill>
                  <a:schemeClr val="bg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0"/>
              </a:spcBef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  <a:endParaRPr lang="en-GB"/>
          </a:p>
        </p:txBody>
      </p:sp>
      <p:sp>
        <p:nvSpPr>
          <p:cNvPr id="8" name="Holder 6">
            <a:extLst>
              <a:ext uri="{FF2B5EF4-FFF2-40B4-BE49-F238E27FC236}">
                <a16:creationId xmlns="" xmlns:a16="http://schemas.microsoft.com/office/drawing/2014/main" id="{598886EC-A9CD-BF73-ACFD-1B78F6568C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596644" y="10607675"/>
            <a:ext cx="1957308" cy="2231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D1C24900-1860-BF98-BB43-96C87EF20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861009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1.xml"/><Relationship Id="rId3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2561" y="3624086"/>
            <a:ext cx="12986790" cy="1363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cs typeface="Poppi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85" y="2601151"/>
            <a:ext cx="1809511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934" y="10517697"/>
            <a:ext cx="64338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85" y="10517697"/>
            <a:ext cx="46243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7E6E61-BD01-4869-B300-6E7F0904E269}" type="datetime1">
              <a:rPr lang="en-US" smtClean="0"/>
              <a:t>7/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6097" y="10517697"/>
            <a:ext cx="46243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8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8DDA8E1C-1233-26E5-BD6D-F1E42D9C62C5}"/>
              </a:ext>
            </a:extLst>
          </p:cNvPr>
          <p:cNvSpPr txBox="1"/>
          <p:nvPr userDrawn="1"/>
        </p:nvSpPr>
        <p:spPr>
          <a:xfrm>
            <a:off x="0" y="55929"/>
            <a:ext cx="168171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EC41EB2D-4345-D4EE-EFD7-A3134AE40D06}"/>
              </a:ext>
            </a:extLst>
          </p:cNvPr>
          <p:cNvSpPr txBox="1"/>
          <p:nvPr userDrawn="1"/>
        </p:nvSpPr>
        <p:spPr>
          <a:xfrm>
            <a:off x="0" y="0"/>
            <a:ext cx="168171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rgbClr val="0000FF"/>
                </a:solidFill>
                <a:latin typeface="Calibri" panose="020F0502020204030204" pitchFamily="34" charset="0"/>
              </a:rPr>
              <a:t>Classification: Limited</a:t>
            </a:r>
          </a:p>
        </p:txBody>
      </p:sp>
    </p:spTree>
    <p:extLst>
      <p:ext uri="{BB962C8B-B14F-4D97-AF65-F5344CB8AC3E}">
        <p14:creationId xmlns:p14="http://schemas.microsoft.com/office/powerpoint/2010/main" val="3372191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31" r:id="rId2"/>
    <p:sldLayoutId id="2147483700" r:id="rId3"/>
    <p:sldLayoutId id="2147483680" r:id="rId4"/>
    <p:sldLayoutId id="2147483685" r:id="rId5"/>
    <p:sldLayoutId id="2147483686" r:id="rId6"/>
    <p:sldLayoutId id="2147483687" r:id="rId7"/>
    <p:sldLayoutId id="2147483691" r:id="rId8"/>
    <p:sldLayoutId id="2147483688" r:id="rId9"/>
    <p:sldLayoutId id="2147483735" r:id="rId10"/>
    <p:sldLayoutId id="2147483690" r:id="rId11"/>
  </p:sldLayoutIdLst>
  <p:hf hdr="0" ftr="0" dt="0"/>
  <p:txStyles>
    <p:titleStyle>
      <a:lvl1pPr>
        <a:defRPr>
          <a:solidFill>
            <a:srgbClr val="282828"/>
          </a:solidFill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6">
            <a:extLst>
              <a:ext uri="{FF2B5EF4-FFF2-40B4-BE49-F238E27FC236}">
                <a16:creationId xmlns="" xmlns:a16="http://schemas.microsoft.com/office/drawing/2014/main" id="{5011D8AB-3EEB-CB44-2EC6-CF4471C53F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10A9D521-F6C3-9E39-2E5A-97034FFA8F24}"/>
              </a:ext>
            </a:extLst>
          </p:cNvPr>
          <p:cNvSpPr txBox="1"/>
          <p:nvPr userDrawn="1"/>
        </p:nvSpPr>
        <p:spPr>
          <a:xfrm>
            <a:off x="0" y="55929"/>
            <a:ext cx="168171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MSIPCMContentMarking" descr="{&quot;HashCode&quot;:471406052,&quot;Placement&quot;:&quot;Header&quot;,&quot;Top&quot;:0.0,&quot;Left&quot;:0.0,&quot;SlideWidth&quot;:1583,&quot;SlideHeight&quot;:890}">
            <a:extLst>
              <a:ext uri="{FF2B5EF4-FFF2-40B4-BE49-F238E27FC236}">
                <a16:creationId xmlns="" xmlns:a16="http://schemas.microsoft.com/office/drawing/2014/main" id="{6EDE404C-88CC-D105-5888-E00944B73317}"/>
              </a:ext>
            </a:extLst>
          </p:cNvPr>
          <p:cNvSpPr txBox="1"/>
          <p:nvPr userDrawn="1"/>
        </p:nvSpPr>
        <p:spPr>
          <a:xfrm>
            <a:off x="0" y="0"/>
            <a:ext cx="168171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rgbClr val="0000FF"/>
                </a:solidFill>
                <a:latin typeface="Calibri" panose="020F0502020204030204" pitchFamily="34" charset="0"/>
              </a:rPr>
              <a:t>Classification: Limit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728" r:id="rId3"/>
    <p:sldLayoutId id="2147483698" r:id="rId4"/>
    <p:sldLayoutId id="2147483729" r:id="rId5"/>
    <p:sldLayoutId id="2147483672" r:id="rId6"/>
    <p:sldLayoutId id="2147483714" r:id="rId7"/>
    <p:sldLayoutId id="2147483724" r:id="rId8"/>
    <p:sldLayoutId id="2147483726" r:id="rId9"/>
    <p:sldLayoutId id="2147483715" r:id="rId10"/>
    <p:sldLayoutId id="2147483725" r:id="rId11"/>
    <p:sldLayoutId id="2147483712" r:id="rId12"/>
    <p:sldLayoutId id="2147483713" r:id="rId13"/>
    <p:sldLayoutId id="2147483732" r:id="rId14"/>
    <p:sldLayoutId id="2147483716" r:id="rId15"/>
    <p:sldLayoutId id="2147483717" r:id="rId16"/>
    <p:sldLayoutId id="2147483766" r:id="rId17"/>
    <p:sldLayoutId id="2147483702" r:id="rId18"/>
    <p:sldLayoutId id="2147483703" r:id="rId19"/>
    <p:sldLayoutId id="2147483760" r:id="rId20"/>
    <p:sldLayoutId id="2147483749" r:id="rId21"/>
    <p:sldLayoutId id="2147483689" r:id="rId22"/>
    <p:sldLayoutId id="2147483719" r:id="rId23"/>
    <p:sldLayoutId id="2147483747" r:id="rId24"/>
    <p:sldLayoutId id="2147483771" r:id="rId25"/>
    <p:sldLayoutId id="2147483772" r:id="rId26"/>
    <p:sldLayoutId id="2147483773" r:id="rId27"/>
    <p:sldLayoutId id="2147483774" r:id="rId28"/>
    <p:sldLayoutId id="2147483775" r:id="rId29"/>
    <p:sldLayoutId id="2147483776" r:id="rId30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46">
        <a:defRPr>
          <a:latin typeface="+mn-lt"/>
          <a:ea typeface="+mn-ea"/>
          <a:cs typeface="+mn-cs"/>
        </a:defRPr>
      </a:lvl2pPr>
      <a:lvl3pPr marL="914491">
        <a:defRPr>
          <a:latin typeface="+mn-lt"/>
          <a:ea typeface="+mn-ea"/>
          <a:cs typeface="+mn-cs"/>
        </a:defRPr>
      </a:lvl3pPr>
      <a:lvl4pPr marL="1371737">
        <a:defRPr>
          <a:latin typeface="+mn-lt"/>
          <a:ea typeface="+mn-ea"/>
          <a:cs typeface="+mn-cs"/>
        </a:defRPr>
      </a:lvl4pPr>
      <a:lvl5pPr marL="1828983">
        <a:defRPr>
          <a:latin typeface="+mn-lt"/>
          <a:ea typeface="+mn-ea"/>
          <a:cs typeface="+mn-cs"/>
        </a:defRPr>
      </a:lvl5pPr>
      <a:lvl6pPr marL="2286229">
        <a:defRPr>
          <a:latin typeface="+mn-lt"/>
          <a:ea typeface="+mn-ea"/>
          <a:cs typeface="+mn-cs"/>
        </a:defRPr>
      </a:lvl6pPr>
      <a:lvl7pPr marL="2743474">
        <a:defRPr>
          <a:latin typeface="+mn-lt"/>
          <a:ea typeface="+mn-ea"/>
          <a:cs typeface="+mn-cs"/>
        </a:defRPr>
      </a:lvl7pPr>
      <a:lvl8pPr marL="3200720">
        <a:defRPr>
          <a:latin typeface="+mn-lt"/>
          <a:ea typeface="+mn-ea"/>
          <a:cs typeface="+mn-cs"/>
        </a:defRPr>
      </a:lvl8pPr>
      <a:lvl9pPr marL="365796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2" userDrawn="1">
          <p15:clr>
            <a:srgbClr val="F26B43"/>
          </p15:clr>
        </p15:guide>
        <p15:guide id="2" pos="6333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DDA7BBCA-DD5A-EE83-23EB-E0BCB7BFE1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8037" y="636192"/>
            <a:ext cx="14291151" cy="1218089"/>
          </a:xfrm>
        </p:spPr>
        <p:txBody>
          <a:bodyPr/>
          <a:lstStyle/>
          <a:p>
            <a:r>
              <a:rPr lang="en-GB" sz="3200" dirty="0"/>
              <a:t>PS ticke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9030896-CFD2-C77F-9C43-06F7D0740F0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lang="en-GB"/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350948" y="1186744"/>
          <a:ext cx="1340379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3965"/>
                <a:gridCol w="2233965"/>
                <a:gridCol w="2233965"/>
                <a:gridCol w="2233965"/>
                <a:gridCol w="2233965"/>
                <a:gridCol w="2233965"/>
              </a:tblGrid>
              <a:tr h="370840">
                <a:tc>
                  <a:txBody>
                    <a:bodyPr/>
                    <a:lstStyle/>
                    <a:p>
                      <a:r>
                        <a:t>227009002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LBG/CM : Worksh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4-24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5-05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t>227193962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TMX O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4-23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5-23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t>241122638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Question regarding the TMX options from 1.28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5-22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6-10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t>249632264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TMX Networking Interface Implement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6-04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2025-06-26 00:00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313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BG Off white master">
  <a:themeElements>
    <a:clrScheme name="LBG Brand Colours">
      <a:dk1>
        <a:srgbClr val="383738"/>
      </a:dk1>
      <a:lt1>
        <a:srgbClr val="FFFFFF"/>
      </a:lt1>
      <a:dk2>
        <a:srgbClr val="383738"/>
      </a:dk2>
      <a:lt2>
        <a:srgbClr val="EEECE1"/>
      </a:lt2>
      <a:accent1>
        <a:srgbClr val="007C43"/>
      </a:accent1>
      <a:accent2>
        <a:srgbClr val="D94D15"/>
      </a:accent2>
      <a:accent3>
        <a:srgbClr val="18509D"/>
      </a:accent3>
      <a:accent4>
        <a:srgbClr val="CE143C"/>
      </a:accent4>
      <a:accent5>
        <a:srgbClr val="009098"/>
      </a:accent5>
      <a:accent6>
        <a:srgbClr val="383738"/>
      </a:accent6>
      <a:hlink>
        <a:srgbClr val="75B94E"/>
      </a:hlink>
      <a:folHlink>
        <a:srgbClr val="92176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BG Grey master">
  <a:themeElements>
    <a:clrScheme name="Custom 7">
      <a:dk1>
        <a:srgbClr val="383738"/>
      </a:dk1>
      <a:lt1>
        <a:srgbClr val="FFFFFF"/>
      </a:lt1>
      <a:dk2>
        <a:srgbClr val="383738"/>
      </a:dk2>
      <a:lt2>
        <a:srgbClr val="EEECE1"/>
      </a:lt2>
      <a:accent1>
        <a:srgbClr val="007C43"/>
      </a:accent1>
      <a:accent2>
        <a:srgbClr val="62B34F"/>
      </a:accent2>
      <a:accent3>
        <a:srgbClr val="D74E14"/>
      </a:accent3>
      <a:accent4>
        <a:srgbClr val="18509D"/>
      </a:accent4>
      <a:accent5>
        <a:srgbClr val="008996"/>
      </a:accent5>
      <a:accent6>
        <a:srgbClr val="8A1C69"/>
      </a:accent6>
      <a:hlink>
        <a:srgbClr val="007C43"/>
      </a:hlink>
      <a:folHlink>
        <a:srgbClr val="62B34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D810B5CE81694098CE7E41EAB234A5" ma:contentTypeVersion="31" ma:contentTypeDescription="Create a new document." ma:contentTypeScope="" ma:versionID="513aa7c6e12e87ab71d1609b979543b9">
  <xsd:schema xmlns:xsd="http://www.w3.org/2001/XMLSchema" xmlns:xs="http://www.w3.org/2001/XMLSchema" xmlns:p="http://schemas.microsoft.com/office/2006/metadata/properties" xmlns:ns1="http://schemas.microsoft.com/sharepoint/v3" xmlns:ns2="6cabb869-6d27-4fac-bf02-3826ffef154a" xmlns:ns3="b817fac9-2d44-410c-83c7-aafc58ae5b09" targetNamespace="http://schemas.microsoft.com/office/2006/metadata/properties" ma:root="true" ma:fieldsID="47ea892fb619c6be76494af4f69ff58b" ns1:_="" ns2:_="" ns3:_="">
    <xsd:import namespace="http://schemas.microsoft.com/sharepoint/v3"/>
    <xsd:import namespace="6cabb869-6d27-4fac-bf02-3826ffef154a"/>
    <xsd:import namespace="b817fac9-2d44-410c-83c7-aafc58ae5b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SearchProperties" minOccurs="0"/>
                <xsd:element ref="ns2:_Flow_SignoffStatu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abb869-6d27-4fac-bf02-3826ffef15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6ee4fd0a-b474-4a32-a144-dd33b07833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28" nillable="true" ma:displayName="Sign-off status" ma:internalName="Sign_x002d_off_x0020_status">
      <xsd:simpleType>
        <xsd:restriction base="dms:Text"/>
      </xsd:simpleType>
    </xsd:element>
    <xsd:element name="MediaServiceBillingMetadata" ma:index="2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17fac9-2d44-410c-83c7-aafc58ae5b09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bb34ab7e-ef76-423d-9618-02b42b797355}" ma:internalName="TaxCatchAll" ma:showField="CatchAllData" ma:web="b817fac9-2d44-410c-83c7-aafc58ae5b0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817fac9-2d44-410c-83c7-aafc58ae5b09">
      <UserInfo>
        <DisplayName>Glover, Claire (Group Sourcing &amp; Supplier Management)</DisplayName>
        <AccountId>25</AccountId>
        <AccountType/>
      </UserInfo>
      <UserInfo>
        <DisplayName>Higginson, Alan (Group Sourcing &amp; Supplier Management)</DisplayName>
        <AccountId>939</AccountId>
        <AccountType/>
      </UserInfo>
    </SharedWithUsers>
    <lcf76f155ced4ddcb4097134ff3c332f xmlns="6cabb869-6d27-4fac-bf02-3826ffef154a">
      <Terms xmlns="http://schemas.microsoft.com/office/infopath/2007/PartnerControls"/>
    </lcf76f155ced4ddcb4097134ff3c332f>
    <TaxCatchAll xmlns="b817fac9-2d44-410c-83c7-aafc58ae5b09" xsi:nil="true"/>
    <_Flow_SignoffStatus xmlns="6cabb869-6d27-4fac-bf02-3826ffef154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F88F4A-E06D-45AF-9216-B92BA3A49004}">
  <ds:schemaRefs>
    <ds:schemaRef ds:uri="6cabb869-6d27-4fac-bf02-3826ffef154a"/>
    <ds:schemaRef ds:uri="b817fac9-2d44-410c-83c7-aafc58ae5b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33C97EC-0037-40F0-9C50-3B0525087559}">
  <ds:schemaRefs>
    <ds:schemaRef ds:uri="http://schemas.microsoft.com/office/2006/metadata/properties"/>
    <ds:schemaRef ds:uri="b817fac9-2d44-410c-83c7-aafc58ae5b09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6cabb869-6d27-4fac-bf02-3826ffef154a"/>
    <ds:schemaRef ds:uri="http://purl.org/dc/dcmitype/"/>
    <ds:schemaRef ds:uri="http://schemas.microsoft.com/office/2006/documentManagement/types"/>
    <ds:schemaRef ds:uri="http://schemas.microsoft.com/sharepoint/v3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65E2657-B185-45C9-A198-959861F3FFE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bc792f8-6d75-423a-9981-629281829092}" enabled="1" method="Privileged" siteId="{3ded2960-214a-46ff-8cf4-611f125e23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Poppins</vt:lpstr>
      <vt:lpstr>Calibri</vt:lpstr>
      <vt:lpstr>Wingdings</vt:lpstr>
      <vt:lpstr>Arial Unicode MS</vt:lpstr>
      <vt:lpstr>Arial</vt:lpstr>
      <vt:lpstr>LBG Off white master</vt:lpstr>
      <vt:lpstr>LBG Grey master</vt:lpstr>
      <vt:lpstr>think-cell Slid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Master PowerPoint Template</dc:title>
  <dc:creator>David Kingston</dc:creator>
  <cp:lastModifiedBy>calatcryptomathic</cp:lastModifiedBy>
  <cp:revision>50</cp:revision>
  <dcterms:created xsi:type="dcterms:W3CDTF">2022-11-30T12:24:55Z</dcterms:created>
  <dcterms:modified xsi:type="dcterms:W3CDTF">2025-07-04T21:3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30T00:00:00Z</vt:filetime>
  </property>
  <property fmtid="{D5CDD505-2E9C-101B-9397-08002B2CF9AE}" pid="3" name="Creator">
    <vt:lpwstr>Adobe InDesign 18.0 (Macintosh)</vt:lpwstr>
  </property>
  <property fmtid="{D5CDD505-2E9C-101B-9397-08002B2CF9AE}" pid="4" name="LastSaved">
    <vt:filetime>2022-11-30T00:00:00Z</vt:filetime>
  </property>
  <property fmtid="{D5CDD505-2E9C-101B-9397-08002B2CF9AE}" pid="5" name="MSIP_Label_7bc792f8-6d75-423a-9981-629281829092_Enabled">
    <vt:lpwstr>true</vt:lpwstr>
  </property>
  <property fmtid="{D5CDD505-2E9C-101B-9397-08002B2CF9AE}" pid="6" name="MSIP_Label_7bc792f8-6d75-423a-9981-629281829092_SetDate">
    <vt:lpwstr>2023-02-15T10:35:02Z</vt:lpwstr>
  </property>
  <property fmtid="{D5CDD505-2E9C-101B-9397-08002B2CF9AE}" pid="7" name="MSIP_Label_7bc792f8-6d75-423a-9981-629281829092_Method">
    <vt:lpwstr>Privileged</vt:lpwstr>
  </property>
  <property fmtid="{D5CDD505-2E9C-101B-9397-08002B2CF9AE}" pid="8" name="MSIP_Label_7bc792f8-6d75-423a-9981-629281829092_Name">
    <vt:lpwstr>7bc792f8-6d75-423a-9981-629281829092</vt:lpwstr>
  </property>
  <property fmtid="{D5CDD505-2E9C-101B-9397-08002B2CF9AE}" pid="9" name="MSIP_Label_7bc792f8-6d75-423a-9981-629281829092_SiteId">
    <vt:lpwstr>3ded2960-214a-46ff-8cf4-611f125e2398</vt:lpwstr>
  </property>
  <property fmtid="{D5CDD505-2E9C-101B-9397-08002B2CF9AE}" pid="10" name="MSIP_Label_7bc792f8-6d75-423a-9981-629281829092_ActionId">
    <vt:lpwstr>b78211df-143b-44f6-820c-36d3e6f8ca7f</vt:lpwstr>
  </property>
  <property fmtid="{D5CDD505-2E9C-101B-9397-08002B2CF9AE}" pid="11" name="MSIP_Label_7bc792f8-6d75-423a-9981-629281829092_ContentBits">
    <vt:lpwstr>1</vt:lpwstr>
  </property>
  <property fmtid="{D5CDD505-2E9C-101B-9397-08002B2CF9AE}" pid="12" name="ContentTypeId">
    <vt:lpwstr>0x0101001CD810B5CE81694098CE7E41EAB234A5</vt:lpwstr>
  </property>
  <property fmtid="{D5CDD505-2E9C-101B-9397-08002B2CF9AE}" pid="13" name="MediaServiceImageTags">
    <vt:lpwstr/>
  </property>
</Properties>
</file>